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</p:sldMasterIdLst>
  <p:notesMasterIdLst>
    <p:notesMasterId r:id="rId13"/>
  </p:notesMasterIdLst>
  <p:handoutMasterIdLst>
    <p:handoutMasterId r:id="rId14"/>
  </p:handoutMasterIdLst>
  <p:sldIdLst>
    <p:sldId id="368" r:id="rId3"/>
    <p:sldId id="382" r:id="rId4"/>
    <p:sldId id="416" r:id="rId5"/>
    <p:sldId id="427" r:id="rId6"/>
    <p:sldId id="422" r:id="rId7"/>
    <p:sldId id="400" r:id="rId8"/>
    <p:sldId id="404" r:id="rId9"/>
    <p:sldId id="402" r:id="rId10"/>
    <p:sldId id="426" r:id="rId11"/>
    <p:sldId id="409" r:id="rId12"/>
  </p:sldIdLst>
  <p:sldSz cx="9144000" cy="5143500" type="screen16x9"/>
  <p:notesSz cx="6858000" cy="9926638"/>
  <p:custDataLst>
    <p:tags r:id="rId15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04" userDrawn="1">
          <p15:clr>
            <a:srgbClr val="A4A3A4"/>
          </p15:clr>
        </p15:guide>
        <p15:guide id="2" pos="5556" userDrawn="1">
          <p15:clr>
            <a:srgbClr val="A4A3A4"/>
          </p15:clr>
        </p15:guide>
        <p15:guide id="3" orient="horz" pos="735" userDrawn="1">
          <p15:clr>
            <a:srgbClr val="A4A3A4"/>
          </p15:clr>
        </p15:guide>
        <p15:guide id="4" orient="horz" pos="2949" userDrawn="1">
          <p15:clr>
            <a:srgbClr val="A4A3A4"/>
          </p15:clr>
        </p15:guide>
        <p15:guide id="5" orient="horz" pos="238" userDrawn="1">
          <p15:clr>
            <a:srgbClr val="A4A3A4"/>
          </p15:clr>
        </p15:guide>
        <p15:guide id="6" pos="2832" userDrawn="1">
          <p15:clr>
            <a:srgbClr val="A4A3A4"/>
          </p15:clr>
        </p15:guide>
        <p15:guide id="7" pos="2933" userDrawn="1">
          <p15:clr>
            <a:srgbClr val="A4A3A4"/>
          </p15:clr>
        </p15:guide>
        <p15:guide id="8" pos="2023" userDrawn="1">
          <p15:clr>
            <a:srgbClr val="A4A3A4"/>
          </p15:clr>
        </p15:guide>
        <p15:guide id="9" pos="1917" userDrawn="1">
          <p15:clr>
            <a:srgbClr val="A4A3A4"/>
          </p15:clr>
        </p15:guide>
        <p15:guide id="10" pos="3737" userDrawn="1">
          <p15:clr>
            <a:srgbClr val="A4A3A4"/>
          </p15:clr>
        </p15:guide>
        <p15:guide id="11" pos="384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ike Schmidt" initials="MS" lastIdx="3" clrIdx="0">
    <p:extLst>
      <p:ext uri="{19B8F6BF-5375-455C-9EA6-DF929625EA0E}">
        <p15:presenceInfo xmlns:p15="http://schemas.microsoft.com/office/powerpoint/2012/main" userId="S::maike.schmidt@strategy-compass.com::b4eb969c-01b2-4915-aef7-794a5e1eccdc" providerId="AD"/>
      </p:ext>
    </p:extLst>
  </p:cmAuthor>
  <p:cmAuthor id="2" name="Candice Yeh (DHL TW)" initials="CY(T" lastIdx="11" clrIdx="1">
    <p:extLst>
      <p:ext uri="{19B8F6BF-5375-455C-9EA6-DF929625EA0E}">
        <p15:presenceInfo xmlns:p15="http://schemas.microsoft.com/office/powerpoint/2012/main" userId="S-1-5-21-1715567821-1326574676-725345543-1674148" providerId="AD"/>
      </p:ext>
    </p:extLst>
  </p:cmAuthor>
  <p:cmAuthor id="3" name="Thomas Ng (DPDHL SG)" initials="TN(S" lastIdx="2" clrIdx="2">
    <p:extLst>
      <p:ext uri="{19B8F6BF-5375-455C-9EA6-DF929625EA0E}">
        <p15:presenceInfo xmlns:p15="http://schemas.microsoft.com/office/powerpoint/2012/main" userId="S::Thomas.Ng@dhl.com::c14d89b0-2773-4f6e-8934-9acc7518f7d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1635"/>
    <a:srgbClr val="D40511"/>
    <a:srgbClr val="1A9C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9810C2D-2C2F-4581-8AFF-CD78C2D722A2}">
  <a:tblStyle styleId="{09810C2D-2C2F-4581-8AFF-CD78C2D722A2}" styleName="DHL Table No BG">
    <a:tblBg>
      <a:fill>
        <a:noFill/>
      </a:fill>
    </a:tblBg>
    <a:wholeTbl>
      <a:tcTxStyle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8575" cmpd="sng">
              <a:solidFill>
                <a:schemeClr val="accent4"/>
              </a:solidFill>
            </a:ln>
          </a:top>
          <a:bottom>
            <a:ln w="28575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solidFill>
            <a:schemeClr val="bg1"/>
          </a:solidFill>
        </a:fill>
      </a:tcStyle>
    </a:wholeTbl>
    <a:band1H>
      <a:tcStyle>
        <a:tcBdr/>
        <a:fill>
          <a:noFill/>
        </a:fill>
      </a:tcStyle>
    </a:band1H>
    <a:band2H>
      <a:tcStyle>
        <a:tcBdr/>
        <a:fill>
          <a:noFill/>
        </a:fill>
      </a:tcStyle>
    </a:band2H>
    <a:band1V>
      <a:tcStyle>
        <a:tcBdr/>
        <a:fill>
          <a:noFill/>
        </a:fill>
      </a:tcStyle>
    </a:band1V>
    <a:band2V>
      <a:tcStyle>
        <a:tcBdr/>
        <a:fill>
          <a:noFill/>
        </a:fill>
      </a:tcStyle>
    </a:band2V>
    <a:lastCol>
      <a:tcTxStyle/>
      <a:tcStyle>
        <a:tcBdr/>
      </a:tcStyle>
    </a:lastCol>
    <a:firstCol>
      <a:tcStyle>
        <a:tcBdr/>
        <a:fill>
          <a:noFill/>
        </a:fill>
      </a:tcStyle>
    </a:firstCol>
    <a:lastRow>
      <a:tcStyle>
        <a:tcBdr/>
        <a:fill>
          <a:noFill/>
        </a:fill>
      </a:tcStyle>
    </a:lastRow>
    <a:firstRow>
      <a:tcTxStyle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6C8A55F-5544-428C-9B86-97CFDF07063B}" styleName="DHL Table White BG">
    <a:tblBg>
      <a:fill>
        <a:noFill/>
      </a:fill>
    </a:tblBg>
    <a:wholeTbl>
      <a:tcTxStyle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8575" cmpd="sng">
              <a:solidFill>
                <a:schemeClr val="accent4"/>
              </a:solidFill>
            </a:ln>
          </a:top>
          <a:bottom>
            <a:ln w="28575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bg1">
              <a:tint val="100000"/>
            </a:schemeClr>
          </a:solidFill>
        </a:fill>
      </a:tcStyle>
    </a:band1H>
    <a:band2H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band2H>
    <a:band1V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band1V>
    <a:band2V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band2V>
    <a:lastCol>
      <a:tcTxStyle/>
      <a:tcStyle>
        <a:tcBdr/>
      </a:tcStyle>
    </a:lastCol>
    <a:firstCol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firstCol>
    <a:lastRow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lastRow>
    <a:firstRow>
      <a:tcTxStyle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solidFill>
            <a:schemeClr val="bg1">
              <a:lumMod val="20000"/>
              <a:lumOff val="8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43" autoAdjust="0"/>
    <p:restoredTop sz="96425" autoAdjust="0"/>
  </p:normalViewPr>
  <p:slideViewPr>
    <p:cSldViewPr snapToGrid="0" showGuides="1">
      <p:cViewPr varScale="1">
        <p:scale>
          <a:sx n="113" d="100"/>
          <a:sy n="113" d="100"/>
        </p:scale>
        <p:origin x="120" y="674"/>
      </p:cViewPr>
      <p:guideLst>
        <p:guide pos="204"/>
        <p:guide pos="5556"/>
        <p:guide orient="horz" pos="735"/>
        <p:guide orient="horz" pos="2949"/>
        <p:guide orient="horz" pos="238"/>
        <p:guide pos="2832"/>
        <p:guide pos="2933"/>
        <p:guide pos="2023"/>
        <p:guide pos="1917"/>
        <p:guide pos="3737"/>
        <p:guide pos="384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 varScale="1">
        <p:scale>
          <a:sx n="52" d="100"/>
          <a:sy n="52" d="100"/>
        </p:scale>
        <p:origin x="2680" y="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22-01-11T18:17:53.824" idx="2">
    <p:pos x="1932" y="1939"/>
    <p:text>To be confirmed</p:text>
    <p:extLst>
      <p:ext uri="{C676402C-5697-4E1C-873F-D02D1690AC5C}">
        <p15:threadingInfo xmlns:p15="http://schemas.microsoft.com/office/powerpoint/2012/main" timeZoneBias="-4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F99E0E-13A7-4CF4-8298-A76E921927B3}" type="datetimeFigureOut">
              <a:rPr lang="de-DE" smtClean="0"/>
              <a:t>11.01.2022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A3755-0057-40CF-B37B-F4432F53191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16430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F5CAE4-CBB0-454E-B6B8-0B6620C2B409}" type="datetimeFigureOut">
              <a:rPr lang="de-DE" smtClean="0"/>
              <a:t>11.0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52438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777194"/>
            <a:ext cx="548640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753AD6-CEF2-4FD5-AABC-FCC5FC528AD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2165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53AD6-CEF2-4FD5-AABC-FCC5FC528AD2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27043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53AD6-CEF2-4FD5-AABC-FCC5FC528AD2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16120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53AD6-CEF2-4FD5-AABC-FCC5FC528AD2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72539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53AD6-CEF2-4FD5-AABC-FCC5FC528AD2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95627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017985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519112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ONE OR TWO LINES,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077289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meta-project">
            <a:extLst>
              <a:ext uri="{FF2B5EF4-FFF2-40B4-BE49-F238E27FC236}">
                <a16:creationId xmlns:a16="http://schemas.microsoft.com/office/drawing/2014/main" id="{8F28B7B0-34F9-4874-994D-5A49D798B3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999" y="2614115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Location, ## Month ####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6706" y="4586676"/>
            <a:ext cx="1500337" cy="21631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735645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Commerce Solutions internal BRM I &lt;Country&gt; I 10 August 202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58661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49F3C-D71F-48B0-816B-AA2AB6497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4F32AD-3FC7-4091-8554-127642F806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Commerce Solutions internal BRM I &lt;Country&gt; I 10 August 202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180CEC-C0BC-4F28-99ED-9A7B307FEE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05EC38-B07E-496F-9ED7-8B08225083C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09D4F118-EC4E-4697-8B94-89026AF38F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654549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553553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C21F6A-3851-4800-A70C-75B7E973A6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Commerce Solutions internal BRM I &lt;Country&gt; I 10 August 202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0140EB-C614-490E-95CD-A54BE084B7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38679AF-4954-4658-B135-45730398D31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67FEE81-04E7-45FF-A241-7D07B82E5C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54549" y="1150938"/>
            <a:ext cx="4165450" cy="3530600"/>
          </a:xfrm>
          <a:solidFill>
            <a:srgbClr val="CCCCCC"/>
          </a:solidFill>
        </p:spPr>
        <p:txBody>
          <a:bodyPr lIns="72000" tIns="72000" rIns="72000" bIns="72000" anchor="ctr"/>
          <a:lstStyle>
            <a:lvl1pPr algn="ct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297623A-4EAB-41C4-80D7-12A550C733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69562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 hal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A2DAE2-6DBF-4F49-9437-0D73AEFD3F5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92726" y="0"/>
            <a:ext cx="3851274" cy="5143500"/>
          </a:xfrm>
          <a:solidFill>
            <a:srgbClr val="CCCCCC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8391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Commerce Solutions internal BRM I &lt;Country&gt; I 10 August 202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4E13D6-6E2C-4C07-9513-3C9141998F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63935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3500"/>
          </a:xfrm>
          <a:solidFill>
            <a:srgbClr val="CCCCCC"/>
          </a:soli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endParaRPr lang="en-US" dirty="0"/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4764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Commerce Solutions internal BRM I &lt;Country&gt; I 10 August 202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6D4CF33-6E7C-43C9-AC12-73ECACB28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27013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3500"/>
          </a:xfr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1"/>
          </a:gra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B4FDD3-3FA4-45F2-86F1-10A9DA1AAD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1553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B4FDD3-3FA4-45F2-86F1-10A9DA1AA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E863B02-413C-4D73-A746-5B2F80C99C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Commerce Solutions internal BRM I &lt;Country&gt; I 10 August 202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12D3212C-E22A-4F68-B1DC-8BD83FA5F8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45432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56D0AD-4E79-4BFF-B8B5-BB937AA1C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B27B9E-C404-4AF3-A250-0969317557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Commerce Solutions internal BRM I &lt;Country&gt; I 10 August 202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688F39-AB4C-43BD-98F0-FD644C145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90685DA-4536-4D1F-9676-24537EC648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24001" y="1150938"/>
            <a:ext cx="4165450" cy="35306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1D8F016-E9C1-4ED6-8F46-E30AD61338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54548" y="1150938"/>
            <a:ext cx="4165450" cy="35306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8704355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A35D9B1-6310-46E2-8EA7-BFC29B52C65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5907E47-AED8-4AB8-AA7A-2736D73CFC5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0" y="1150938"/>
            <a:ext cx="8495999" cy="35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BCAE12-7456-4DFA-8832-22E05FDDD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1FF1B3-6C52-429B-B6E4-B7B0F4F27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Commerce Solutions internal BRM I &lt;Country&gt; I 10 August 202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348D45-3AD0-4D87-AB1B-0B3F1D9CDB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84FC1FAD-68BA-45FC-95C2-D996FAEB7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6311333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82AB236-DAFD-49F7-BBC2-7E52C86EE7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solidFill>
            <a:srgbClr val="333333"/>
          </a:solidFill>
        </p:spPr>
        <p:txBody>
          <a:bodyPr lIns="72000" tIns="72000" rIns="72000" bIns="72000"/>
          <a:lstStyle>
            <a:lvl1pPr marL="0" marR="0" indent="0" algn="r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F2E6C-875C-432B-B47A-A9E589B7C4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CD9EC0-783C-4E03-8B54-EB815AE37D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HL eCommerce Solutions internal BRM I &lt;Country&gt; I 10 August 202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64768-AEA5-4631-BC4A-8DB3B9447D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66D239E5-258B-41CA-ABAF-4A71EA5D0B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0" y="1150938"/>
            <a:ext cx="8495999" cy="35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marR="0" indent="0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2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19C17D38-E07D-4DBA-8A51-4DD4B0A923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41201023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full screen video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DB4843D2-D66C-4483-9BEF-0EA790E357B6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35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 vide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0885550-4E65-4CBF-8046-671CF042C5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7893F3CA-BCB9-4004-97E6-F5E4DB1FA0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638674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4" y="0"/>
            <a:ext cx="3851274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58969"/>
            <a:ext cx="4644723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60096"/>
            <a:ext cx="4644723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39331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2505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6D7980B-2166-486B-BE62-14DA390484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11905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Commerce Solutions internal BRM I &lt;Country&gt; I 10 August 202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ABAA4C-A627-4F72-ADBD-217F33287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74117" y="1963196"/>
            <a:ext cx="5233987" cy="897618"/>
          </a:xfrm>
        </p:spPr>
        <p:txBody>
          <a:bodyPr>
            <a:noAutofit/>
          </a:bodyPr>
          <a:lstStyle>
            <a:lvl1pPr>
              <a:lnSpc>
                <a:spcPts val="3000"/>
              </a:lnSpc>
              <a:spcAft>
                <a:spcPts val="0"/>
              </a:spcAft>
              <a:defRPr sz="2500" i="1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This space is reserved for quotes.</a:t>
            </a:r>
            <a:br>
              <a:rPr lang="en-US" dirty="0"/>
            </a:br>
            <a:r>
              <a:rPr lang="en-US" dirty="0"/>
              <a:t>Delivery Italic, 25 pt.”</a:t>
            </a:r>
          </a:p>
        </p:txBody>
      </p:sp>
    </p:spTree>
    <p:extLst>
      <p:ext uri="{BB962C8B-B14F-4D97-AF65-F5344CB8AC3E}">
        <p14:creationId xmlns:p14="http://schemas.microsoft.com/office/powerpoint/2010/main" val="21059331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Commerce Solutions internal BRM I &lt;Country&gt; I 10 August 202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0DCF4F-94A3-4ECD-931B-78A92C777558}"/>
              </a:ext>
            </a:extLst>
          </p:cNvPr>
          <p:cNvSpPr txBox="1"/>
          <p:nvPr/>
        </p:nvSpPr>
        <p:spPr>
          <a:xfrm>
            <a:off x="319293" y="1485178"/>
            <a:ext cx="313416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b="0" cap="all" baseline="0" noProof="0" dirty="0">
                <a:solidFill>
                  <a:schemeClr val="accent4"/>
                </a:solidFill>
                <a:latin typeface="Delivery Cd Black" panose="020F0906020204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4810315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B9521-04C2-4F9B-99FD-3E4EA5BB7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9AB9521-04C2-4F9B-99FD-3E4EA5BB7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1B313E9-1DB6-4AD4-90FD-B78C82DECC8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tIns="540000" anchor="ctr"/>
          <a:lstStyle>
            <a:lvl1pPr algn="ctr">
              <a:defRPr>
                <a:latin typeface="+mn-lt"/>
              </a:defRPr>
            </a:lvl1pPr>
          </a:lstStyle>
          <a:p>
            <a:r>
              <a:rPr lang="en-US" dirty="0"/>
              <a:t>Click icon to add light color picture</a:t>
            </a:r>
          </a:p>
        </p:txBody>
      </p:sp>
      <p:sp>
        <p:nvSpPr>
          <p:cNvPr id="4" name="Titel 14">
            <a:extLst>
              <a:ext uri="{FF2B5EF4-FFF2-40B4-BE49-F238E27FC236}">
                <a16:creationId xmlns:a16="http://schemas.microsoft.com/office/drawing/2014/main" id="{ADCDDBCD-7689-964E-A0F9-4B6DB6405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/>
          <a:lstStyle>
            <a:lvl1pPr>
              <a:defRPr>
                <a:latin typeface="+mj-lt"/>
                <a:sym typeface="Delivery" panose="020F0503020204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8369013" y="4644000"/>
            <a:ext cx="364137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914400" rtl="0" eaLnBrk="1" latinLnBrk="0" hangingPunct="1"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1FD06E01-4A83-498D-AC1C-84939DF77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4337" y="1093909"/>
            <a:ext cx="4050000" cy="3287291"/>
          </a:xfrm>
        </p:spPr>
        <p:txBody>
          <a:bodyPr/>
          <a:lstStyle>
            <a:lvl1pPr>
              <a:defRPr>
                <a:latin typeface="+mn-lt"/>
                <a:sym typeface="Delivery" panose="020F0503020204020204" pitchFamily="34" charset="0"/>
              </a:defRPr>
            </a:lvl1pPr>
            <a:lvl2pPr>
              <a:defRPr>
                <a:latin typeface="+mn-lt"/>
                <a:sym typeface="Delivery" panose="020F0503020204020204" pitchFamily="34" charset="0"/>
              </a:defRPr>
            </a:lvl2pPr>
            <a:lvl3pPr>
              <a:defRPr>
                <a:latin typeface="+mn-lt"/>
                <a:sym typeface="Delivery" panose="020F0503020204020204" pitchFamily="34" charset="0"/>
              </a:defRPr>
            </a:lvl3pPr>
            <a:lvl4pPr>
              <a:defRPr>
                <a:latin typeface="+mn-lt"/>
                <a:sym typeface="Delivery" panose="020F0503020204020204" pitchFamily="34" charset="0"/>
              </a:defRPr>
            </a:lvl4pPr>
            <a:lvl5pPr>
              <a:defRPr>
                <a:latin typeface="+mn-lt"/>
                <a:sym typeface="Delivery" panose="020F0503020204020204" pitchFamily="34" charset="0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meta-classification">
            <a:extLst>
              <a:ext uri="{FF2B5EF4-FFF2-40B4-BE49-F238E27FC236}">
                <a16:creationId xmlns:a16="http://schemas.microsoft.com/office/drawing/2014/main" id="{5100938C-C03F-47A7-A082-E55B511B19E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1814599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  <a:sym typeface="Delivery" panose="020F0503020204020204" pitchFamily="34" charset="0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30111101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2" y="2017987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013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192884" indent="0" algn="ctr">
              <a:buNone/>
              <a:defRPr sz="844"/>
            </a:lvl2pPr>
            <a:lvl3pPr marL="385767" indent="0" algn="ctr">
              <a:buNone/>
              <a:defRPr sz="759"/>
            </a:lvl3pPr>
            <a:lvl4pPr marL="578651" indent="0" algn="ctr">
              <a:buNone/>
              <a:defRPr sz="675"/>
            </a:lvl4pPr>
            <a:lvl5pPr marL="771535" indent="0" algn="ctr">
              <a:buNone/>
              <a:defRPr sz="675"/>
            </a:lvl5pPr>
            <a:lvl6pPr marL="964418" indent="0" algn="ctr">
              <a:buNone/>
              <a:defRPr sz="675"/>
            </a:lvl6pPr>
            <a:lvl7pPr marL="1157302" indent="0" algn="ctr">
              <a:buNone/>
              <a:defRPr sz="675"/>
            </a:lvl7pPr>
            <a:lvl8pPr marL="1350186" indent="0" algn="ctr">
              <a:buNone/>
              <a:defRPr sz="675"/>
            </a:lvl8pPr>
            <a:lvl9pPr marL="1543069" indent="0" algn="ctr">
              <a:buNone/>
              <a:defRPr sz="675"/>
            </a:lvl9pPr>
          </a:lstStyle>
          <a:p>
            <a:r>
              <a:rPr lang="en-US" dirty="0"/>
              <a:t>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519114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2025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ONE OR TWO LINES,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077289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meta-project">
            <a:extLst>
              <a:ext uri="{FF2B5EF4-FFF2-40B4-BE49-F238E27FC236}">
                <a16:creationId xmlns:a16="http://schemas.microsoft.com/office/drawing/2014/main" id="{8F28B7B0-34F9-4874-994D-5A49D798B3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999" y="2614115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Location, ## Month ####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A00A256-AF89-4D8F-86B6-F3DC3A23E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55702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5" y="0"/>
            <a:ext cx="3851274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3" y="2758971"/>
            <a:ext cx="4644723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013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192884" indent="0" algn="ctr">
              <a:buNone/>
              <a:defRPr sz="844"/>
            </a:lvl2pPr>
            <a:lvl3pPr marL="385767" indent="0" algn="ctr">
              <a:buNone/>
              <a:defRPr sz="759"/>
            </a:lvl3pPr>
            <a:lvl4pPr marL="578651" indent="0" algn="ctr">
              <a:buNone/>
              <a:defRPr sz="675"/>
            </a:lvl4pPr>
            <a:lvl5pPr marL="771535" indent="0" algn="ctr">
              <a:buNone/>
              <a:defRPr sz="675"/>
            </a:lvl5pPr>
            <a:lvl6pPr marL="964418" indent="0" algn="ctr">
              <a:buNone/>
              <a:defRPr sz="675"/>
            </a:lvl6pPr>
            <a:lvl7pPr marL="1157302" indent="0" algn="ctr">
              <a:buNone/>
              <a:defRPr sz="675"/>
            </a:lvl7pPr>
            <a:lvl8pPr marL="1350186" indent="0" algn="ctr">
              <a:buNone/>
              <a:defRPr sz="675"/>
            </a:lvl8pPr>
            <a:lvl9pPr marL="1543069" indent="0" algn="ctr">
              <a:buNone/>
              <a:defRPr sz="675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3" y="1260097"/>
            <a:ext cx="4644723" cy="1498873"/>
          </a:xfrm>
        </p:spPr>
        <p:txBody>
          <a:bodyPr/>
          <a:lstStyle>
            <a:lvl1pPr>
              <a:lnSpc>
                <a:spcPct val="90000"/>
              </a:lnSpc>
              <a:defRPr sz="2025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39331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2506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6D7980B-2166-486B-BE62-14DA390484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1766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half page gradient, full page picture">
    <p:bg>
      <p:bgPr>
        <a:gradFill flip="none" rotWithShape="1">
          <a:gsLst>
            <a:gs pos="40000">
              <a:schemeClr val="accent3"/>
            </a:gs>
            <a:gs pos="80000">
              <a:srgbClr val="FFEFB5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9B50F6-B70A-4FAE-B403-A7AA47855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19" y="519114"/>
            <a:ext cx="4802400" cy="4467600"/>
          </a:xfrm>
          <a:gradFill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759" smtClean="0">
                <a:solidFill>
                  <a:schemeClr val="lt1"/>
                </a:solidFill>
              </a:defRPr>
            </a:lvl2pPr>
            <a:lvl3pPr>
              <a:defRPr lang="en-US" sz="759" smtClean="0">
                <a:solidFill>
                  <a:schemeClr val="lt1"/>
                </a:solidFill>
              </a:defRPr>
            </a:lvl3pPr>
            <a:lvl4pPr>
              <a:defRPr lang="en-US" sz="759" smtClean="0">
                <a:solidFill>
                  <a:schemeClr val="lt1"/>
                </a:solidFill>
              </a:defRPr>
            </a:lvl4pPr>
            <a:lvl5pPr>
              <a:defRPr lang="en-US" sz="759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58971"/>
            <a:ext cx="4657246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013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192884" indent="0" algn="ctr">
              <a:buNone/>
              <a:defRPr sz="844"/>
            </a:lvl2pPr>
            <a:lvl3pPr marL="385767" indent="0" algn="ctr">
              <a:buNone/>
              <a:defRPr sz="759"/>
            </a:lvl3pPr>
            <a:lvl4pPr marL="578651" indent="0" algn="ctr">
              <a:buNone/>
              <a:defRPr sz="675"/>
            </a:lvl4pPr>
            <a:lvl5pPr marL="771535" indent="0" algn="ctr">
              <a:buNone/>
              <a:defRPr sz="675"/>
            </a:lvl5pPr>
            <a:lvl6pPr marL="964418" indent="0" algn="ctr">
              <a:buNone/>
              <a:defRPr sz="675"/>
            </a:lvl6pPr>
            <a:lvl7pPr marL="1157302" indent="0" algn="ctr">
              <a:buNone/>
              <a:defRPr sz="675"/>
            </a:lvl7pPr>
            <a:lvl8pPr marL="1350186" indent="0" algn="ctr">
              <a:buNone/>
              <a:defRPr sz="675"/>
            </a:lvl8pPr>
            <a:lvl9pPr marL="1543069" indent="0" algn="ctr">
              <a:buNone/>
              <a:defRPr sz="675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1144019"/>
            <a:ext cx="4657245" cy="1614951"/>
          </a:xfrm>
        </p:spPr>
        <p:txBody>
          <a:bodyPr/>
          <a:lstStyle>
            <a:lvl1pPr>
              <a:lnSpc>
                <a:spcPct val="90000"/>
              </a:lnSpc>
              <a:defRPr sz="2025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4000" y="3339331"/>
            <a:ext cx="4657246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3802506"/>
            <a:ext cx="4657246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4453C777-669F-4D78-BCD9-96F8D8935A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45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303555C-2957-4400-9295-0766E686CF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24841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00"/>
          </a:xfrm>
          <a:solidFill>
            <a:srgbClr val="CCCCCC"/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C36D145-7D48-43DF-A3F6-93C7BE477D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441329"/>
            <a:ext cx="8658000" cy="543577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759" smtClean="0">
                <a:solidFill>
                  <a:schemeClr val="lt1"/>
                </a:solidFill>
              </a:defRPr>
            </a:lvl2pPr>
            <a:lvl3pPr>
              <a:defRPr lang="en-US" sz="759" smtClean="0">
                <a:solidFill>
                  <a:schemeClr val="lt1"/>
                </a:solidFill>
              </a:defRPr>
            </a:lvl3pPr>
            <a:lvl4pPr>
              <a:defRPr lang="en-US" sz="759" smtClean="0">
                <a:solidFill>
                  <a:schemeClr val="lt1"/>
                </a:solidFill>
              </a:defRPr>
            </a:lvl4pPr>
            <a:lvl5pPr>
              <a:defRPr lang="en-US" sz="759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2" y="2740803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013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192884" indent="0" algn="ctr">
              <a:buNone/>
              <a:defRPr sz="844"/>
            </a:lvl2pPr>
            <a:lvl3pPr marL="385767" indent="0" algn="ctr">
              <a:buNone/>
              <a:defRPr sz="759"/>
            </a:lvl3pPr>
            <a:lvl4pPr marL="578651" indent="0" algn="ctr">
              <a:buNone/>
              <a:defRPr sz="675"/>
            </a:lvl4pPr>
            <a:lvl5pPr marL="771535" indent="0" algn="ctr">
              <a:buNone/>
              <a:defRPr sz="675"/>
            </a:lvl5pPr>
            <a:lvl6pPr marL="964418" indent="0" algn="ctr">
              <a:buNone/>
              <a:defRPr sz="675"/>
            </a:lvl6pPr>
            <a:lvl7pPr marL="1157302" indent="0" algn="ctr">
              <a:buNone/>
              <a:defRPr sz="675"/>
            </a:lvl7pPr>
            <a:lvl8pPr marL="1350186" indent="0" algn="ctr">
              <a:buNone/>
              <a:defRPr sz="675"/>
            </a:lvl8pPr>
            <a:lvl9pPr marL="1543069" indent="0" algn="ctr">
              <a:buNone/>
              <a:defRPr sz="675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1241930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2025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5642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8817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45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C4F0112-2910-40C5-9080-8F8BD963E6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21016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dark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B4A82-6837-42CB-8B67-FDC5119BE9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9144000" cy="5148000"/>
          </a:xfrm>
          <a:gradFill flip="none" rotWithShape="1">
            <a:gsLst>
              <a:gs pos="100000">
                <a:schemeClr val="tx1">
                  <a:alpha val="0"/>
                </a:schemeClr>
              </a:gs>
              <a:gs pos="40000">
                <a:schemeClr val="tx1">
                  <a:alpha val="30000"/>
                </a:schemeClr>
              </a:gs>
            </a:gsLst>
            <a:lin ang="0" scaled="1"/>
            <a:tileRect/>
          </a:gra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GB" dirty="0"/>
              <a:t>1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EBE0D14-C041-444F-B729-0732261905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8000"/>
          </a:xfrm>
          <a:solidFill>
            <a:srgbClr val="333333"/>
          </a:solidFill>
        </p:spPr>
        <p:txBody>
          <a:bodyPr lIns="324000" tIns="576000"/>
          <a:lstStyle>
            <a:lvl1pPr>
              <a:defRPr sz="563" b="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use and adjust this transparent box to darken the background image for good readability. Please insert an image and send it to the background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DFF7BB-5301-4F2D-9EE9-581891DB91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441329"/>
            <a:ext cx="8658000" cy="543577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759" smtClean="0">
                <a:solidFill>
                  <a:schemeClr val="lt1"/>
                </a:solidFill>
              </a:defRPr>
            </a:lvl2pPr>
            <a:lvl3pPr>
              <a:defRPr lang="en-US" sz="759" smtClean="0">
                <a:solidFill>
                  <a:schemeClr val="lt1"/>
                </a:solidFill>
              </a:defRPr>
            </a:lvl3pPr>
            <a:lvl4pPr>
              <a:defRPr lang="en-US" sz="759" smtClean="0">
                <a:solidFill>
                  <a:schemeClr val="lt1"/>
                </a:solidFill>
              </a:defRPr>
            </a:lvl4pPr>
            <a:lvl5pPr>
              <a:defRPr lang="en-US" sz="759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2" y="2740803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013" cap="all" baseline="0">
                <a:solidFill>
                  <a:schemeClr val="bg1"/>
                </a:solidFill>
                <a:latin typeface="Delivery Cd Light" panose="020F0406020204020204" pitchFamily="34" charset="0"/>
              </a:defRPr>
            </a:lvl1pPr>
            <a:lvl2pPr marL="192884" indent="0" algn="ctr">
              <a:buNone/>
              <a:defRPr sz="844"/>
            </a:lvl2pPr>
            <a:lvl3pPr marL="385767" indent="0" algn="ctr">
              <a:buNone/>
              <a:defRPr sz="759"/>
            </a:lvl3pPr>
            <a:lvl4pPr marL="578651" indent="0" algn="ctr">
              <a:buNone/>
              <a:defRPr sz="675"/>
            </a:lvl4pPr>
            <a:lvl5pPr marL="771535" indent="0" algn="ctr">
              <a:buNone/>
              <a:defRPr sz="675"/>
            </a:lvl5pPr>
            <a:lvl6pPr marL="964418" indent="0" algn="ctr">
              <a:buNone/>
              <a:defRPr sz="675"/>
            </a:lvl6pPr>
            <a:lvl7pPr marL="1157302" indent="0" algn="ctr">
              <a:buNone/>
              <a:defRPr sz="675"/>
            </a:lvl7pPr>
            <a:lvl8pPr marL="1350186" indent="0" algn="ctr">
              <a:buNone/>
              <a:defRPr sz="675"/>
            </a:lvl8pPr>
            <a:lvl9pPr marL="1543069" indent="0" algn="ctr">
              <a:buNone/>
              <a:defRPr sz="675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1241930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2025" b="0" i="0" cap="all" baseline="0">
                <a:solidFill>
                  <a:schemeClr val="bg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5642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8817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45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3AE83C8-1BB0-4112-BB84-46ED14A646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172412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2" y="2017987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013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192884" indent="0" algn="ctr">
              <a:buNone/>
              <a:defRPr sz="844"/>
            </a:lvl2pPr>
            <a:lvl3pPr marL="385767" indent="0" algn="ctr">
              <a:buNone/>
              <a:defRPr sz="759"/>
            </a:lvl3pPr>
            <a:lvl4pPr marL="578651" indent="0" algn="ctr">
              <a:buNone/>
              <a:defRPr sz="675"/>
            </a:lvl4pPr>
            <a:lvl5pPr marL="771535" indent="0" algn="ctr">
              <a:buNone/>
              <a:defRPr sz="675"/>
            </a:lvl5pPr>
            <a:lvl6pPr marL="964418" indent="0" algn="ctr">
              <a:buNone/>
              <a:defRPr sz="675"/>
            </a:lvl6pPr>
            <a:lvl7pPr marL="1157302" indent="0" algn="ctr">
              <a:buNone/>
              <a:defRPr sz="675"/>
            </a:lvl7pPr>
            <a:lvl8pPr marL="1350186" indent="0" algn="ctr">
              <a:buNone/>
              <a:defRPr sz="675"/>
            </a:lvl8pPr>
            <a:lvl9pPr marL="1543069" indent="0" algn="ctr">
              <a:buNone/>
              <a:defRPr sz="675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519114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2025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ection divider with Gradient,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134C61-AE90-4876-9405-4282167F38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23999" y="4803984"/>
            <a:ext cx="8117532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D195B8-0DD2-4278-B191-4D18AA251F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441532" y="4803984"/>
            <a:ext cx="378469" cy="138499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0791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3" y="2758971"/>
            <a:ext cx="4644723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013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192884" indent="0" algn="ctr">
              <a:buNone/>
              <a:defRPr sz="844"/>
            </a:lvl2pPr>
            <a:lvl3pPr marL="385767" indent="0" algn="ctr">
              <a:buNone/>
              <a:defRPr sz="759"/>
            </a:lvl3pPr>
            <a:lvl4pPr marL="578651" indent="0" algn="ctr">
              <a:buNone/>
              <a:defRPr sz="675"/>
            </a:lvl4pPr>
            <a:lvl5pPr marL="771535" indent="0" algn="ctr">
              <a:buNone/>
              <a:defRPr sz="675"/>
            </a:lvl5pPr>
            <a:lvl6pPr marL="964418" indent="0" algn="ctr">
              <a:buNone/>
              <a:defRPr sz="675"/>
            </a:lvl6pPr>
            <a:lvl7pPr marL="1157302" indent="0" algn="ctr">
              <a:buNone/>
              <a:defRPr sz="675"/>
            </a:lvl7pPr>
            <a:lvl8pPr marL="1350186" indent="0" algn="ctr">
              <a:buNone/>
              <a:defRPr sz="675"/>
            </a:lvl8pPr>
            <a:lvl9pPr marL="1543069" indent="0" algn="ctr">
              <a:buNone/>
              <a:defRPr sz="675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3" y="1260097"/>
            <a:ext cx="4644723" cy="1498873"/>
          </a:xfrm>
        </p:spPr>
        <p:txBody>
          <a:bodyPr/>
          <a:lstStyle>
            <a:lvl1pPr>
              <a:lnSpc>
                <a:spcPct val="90000"/>
              </a:lnSpc>
              <a:defRPr sz="2025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ection divider </a:t>
            </a:r>
            <a:br>
              <a:rPr lang="en-US" dirty="0"/>
            </a:br>
            <a:r>
              <a:rPr lang="en-US" dirty="0"/>
              <a:t>with image, 36 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7" y="0"/>
            <a:ext cx="3851275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55C8B4-1569-420F-94F8-0A45D58CC3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23999" y="4803984"/>
            <a:ext cx="8117532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9E2F84-6B48-4F57-8783-342F789CB3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441532" y="4803984"/>
            <a:ext cx="378469" cy="138499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8273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half page gradient, full page picture">
    <p:bg>
      <p:bgPr>
        <a:gradFill flip="none" rotWithShape="1">
          <a:gsLst>
            <a:gs pos="40000">
              <a:schemeClr val="accent3"/>
            </a:gs>
            <a:gs pos="80000">
              <a:srgbClr val="FFEFB5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9B50F6-B70A-4FAE-B403-A7AA47855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19" y="519114"/>
            <a:ext cx="4802400" cy="4467600"/>
          </a:xfrm>
          <a:gradFill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58969"/>
            <a:ext cx="4657246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144018"/>
            <a:ext cx="4657245" cy="1614951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39331"/>
            <a:ext cx="4657246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2505"/>
            <a:ext cx="4657246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4453C777-669F-4D78-BCD9-96F8D8935A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303555C-2957-4400-9295-0766E686CF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06834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55AA5-C875-4E2C-962B-7BF752DF5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3ED683-F9E2-432B-9EE5-F787159B7C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23999" y="4803984"/>
            <a:ext cx="8117532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0C2FE-3516-4404-9D7F-3E6C342436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441532" y="4803984"/>
            <a:ext cx="378469" cy="138499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BBD46-F6A3-49DC-8F32-053AD1A886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852" y="1150938"/>
            <a:ext cx="2722563" cy="3530600"/>
          </a:xfrm>
        </p:spPr>
        <p:txBody>
          <a:bodyPr/>
          <a:lstStyle>
            <a:lvl1pPr marL="141752" indent="-141752">
              <a:spcBef>
                <a:spcPts val="788"/>
              </a:spcBef>
              <a:spcAft>
                <a:spcPts val="0"/>
              </a:spcAft>
              <a:buAutoNum type="arabicPlain"/>
              <a:defRPr b="1"/>
            </a:lvl1pPr>
            <a:lvl2pPr marL="141752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 dirty="0"/>
              <a:t>Sample section, Delivery Bold, </a:t>
            </a:r>
            <a:br>
              <a:rPr lang="en-US" dirty="0"/>
            </a:br>
            <a:r>
              <a:rPr lang="en-US" dirty="0"/>
              <a:t>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ample text, Delivery, 12 </a:t>
            </a:r>
            <a:r>
              <a:rPr lang="en-US" dirty="0" err="1"/>
              <a:t>pt</a:t>
            </a:r>
            <a:endParaRPr lang="en-US" dirty="0"/>
          </a:p>
          <a:p>
            <a:pPr lvl="0"/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39E3AB-4E3D-4482-A3E6-FBBC80DEA3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8339" y="1150938"/>
            <a:ext cx="2722564" cy="3530600"/>
          </a:xfrm>
        </p:spPr>
        <p:txBody>
          <a:bodyPr/>
          <a:lstStyle>
            <a:lvl1pPr marL="141752" indent="-141752">
              <a:spcBef>
                <a:spcPts val="788"/>
              </a:spcBef>
              <a:spcAft>
                <a:spcPts val="0"/>
              </a:spcAft>
              <a:buAutoNum type="arabicPlain" startAt="7"/>
              <a:defRPr b="1"/>
            </a:lvl1pPr>
            <a:lvl2pPr marL="141752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 dirty="0"/>
              <a:t>Sample section, Delivery Bold, </a:t>
            </a:r>
            <a:br>
              <a:rPr lang="en-US" dirty="0"/>
            </a:br>
            <a:r>
              <a:rPr lang="en-US" dirty="0"/>
              <a:t>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ample text, Delivery, 12 </a:t>
            </a:r>
            <a:r>
              <a:rPr lang="en-US" dirty="0" err="1"/>
              <a:t>pt</a:t>
            </a:r>
            <a:endParaRPr lang="en-US" dirty="0"/>
          </a:p>
          <a:p>
            <a:pPr lvl="0"/>
            <a:endParaRPr lang="en-US" dirty="0"/>
          </a:p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26289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F4958-514A-4601-B68D-C79842B99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27EF1F-9ACF-48EE-A949-EAF1464539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23999" y="4803984"/>
            <a:ext cx="8117532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8F358-6501-48B8-80CA-E7836E5B98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441532" y="4803984"/>
            <a:ext cx="378469" cy="138499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B14529-BCAE-43FA-A029-C343F83E04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4002" y="1150938"/>
            <a:ext cx="8495999" cy="35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675"/>
            </a:lvl6pPr>
            <a:lvl7pPr>
              <a:defRPr sz="675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sz="675" dirty="0"/>
              <a:t>Bullet number, Delivery, 12 </a:t>
            </a:r>
            <a:r>
              <a:rPr lang="en-US" sz="675" dirty="0" err="1"/>
              <a:t>pt</a:t>
            </a:r>
            <a:r>
              <a:rPr lang="en-US" sz="675" dirty="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5CED03-C33D-4356-A21D-74205078B24D}"/>
              </a:ext>
            </a:extLst>
          </p:cNvPr>
          <p:cNvSpPr/>
          <p:nvPr/>
        </p:nvSpPr>
        <p:spPr>
          <a:xfrm>
            <a:off x="2286000" y="1729213"/>
            <a:ext cx="4572000" cy="248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/>
            <a:r>
              <a:rPr lang="en-US" sz="1013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013039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23999" y="4803984"/>
            <a:ext cx="8117532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441532" y="4803984"/>
            <a:ext cx="378469" cy="138499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4864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49F3C-D71F-48B0-816B-AA2AB6497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4F32AD-3FC7-4091-8554-127642F806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23999" y="4803984"/>
            <a:ext cx="8117532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180CEC-C0BC-4F28-99ED-9A7B307FEE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441532" y="4803984"/>
            <a:ext cx="378469" cy="138499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05EC38-B07E-496F-9ED7-8B08225083C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675"/>
            </a:lvl6pPr>
            <a:lvl7pPr>
              <a:defRPr sz="675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09D4F118-EC4E-4697-8B94-89026AF38F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654550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675"/>
            </a:lvl6pPr>
            <a:lvl7pPr>
              <a:defRPr sz="675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3085965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C21F6A-3851-4800-A70C-75B7E973A6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23999" y="4803984"/>
            <a:ext cx="8117532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0140EB-C614-490E-95CD-A54BE084B7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441532" y="4803984"/>
            <a:ext cx="378469" cy="138499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38679AF-4954-4658-B135-45730398D31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675"/>
            </a:lvl6pPr>
            <a:lvl7pPr>
              <a:defRPr sz="675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67FEE81-04E7-45FF-A241-7D07B82E5C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54550" y="1150938"/>
            <a:ext cx="4165450" cy="3530600"/>
          </a:xfrm>
          <a:solidFill>
            <a:srgbClr val="CCCCCC"/>
          </a:solidFill>
        </p:spPr>
        <p:txBody>
          <a:bodyPr lIns="72000" tIns="72000" rIns="72000" bIns="72000" anchor="ctr"/>
          <a:lstStyle>
            <a:lvl1pPr algn="ct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297623A-4EAB-41C4-80D7-12A550C733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9468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 hal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A2DAE2-6DBF-4F49-9437-0D73AEFD3F5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92727" y="0"/>
            <a:ext cx="3851274" cy="5143500"/>
          </a:xfrm>
          <a:solidFill>
            <a:srgbClr val="CCCCCC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013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23999" y="4803984"/>
            <a:ext cx="8117532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441532" y="4803984"/>
            <a:ext cx="378469" cy="138499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675"/>
            </a:lvl6pPr>
            <a:lvl7pPr>
              <a:defRPr sz="675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4E13D6-6E2C-4C07-9513-3C9141998F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385163"/>
            <a:ext cx="4644725" cy="49395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03904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7" y="0"/>
            <a:ext cx="3851274" cy="5143500"/>
          </a:xfrm>
          <a:solidFill>
            <a:srgbClr val="CCCCCC"/>
          </a:soli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675"/>
            </a:lvl6pPr>
            <a:lvl7pPr>
              <a:defRPr sz="675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endParaRPr lang="en-US" dirty="0"/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013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23999" y="4803984"/>
            <a:ext cx="8117532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441532" y="4803984"/>
            <a:ext cx="378469" cy="138499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675"/>
            </a:lvl6pPr>
            <a:lvl7pPr>
              <a:defRPr sz="675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6D4CF33-6E7C-43C9-AC12-73ECACB28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385163"/>
            <a:ext cx="4644725" cy="49395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79200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7" y="0"/>
            <a:ext cx="3851274" cy="5143500"/>
          </a:xfr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1"/>
          </a:gra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675"/>
            </a:lvl6pPr>
            <a:lvl7pPr>
              <a:defRPr sz="675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B4FDD3-3FA4-45F2-86F1-10A9DA1AAD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B4FDD3-3FA4-45F2-86F1-10A9DA1AAD3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E863B02-413C-4D73-A746-5B2F80C99C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013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23999" y="4803984"/>
            <a:ext cx="8117532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441532" y="4803984"/>
            <a:ext cx="378469" cy="138499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675"/>
            </a:lvl6pPr>
            <a:lvl7pPr>
              <a:defRPr sz="675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12D3212C-E22A-4F68-B1DC-8BD83FA5F8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385163"/>
            <a:ext cx="4644725" cy="49395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14772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56D0AD-4E79-4BFF-B8B5-BB937AA1C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B27B9E-C404-4AF3-A250-0969317557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23999" y="4803984"/>
            <a:ext cx="8117532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688F39-AB4C-43BD-98F0-FD644C145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441532" y="4803984"/>
            <a:ext cx="378469" cy="138499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90685DA-4536-4D1F-9676-24537EC648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24001" y="1150938"/>
            <a:ext cx="4165450" cy="35306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1D8F016-E9C1-4ED6-8F46-E30AD61338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54549" y="1150938"/>
            <a:ext cx="4165450" cy="35306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245638621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A35D9B1-6310-46E2-8EA7-BFC29B52C65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5907E47-AED8-4AB8-AA7A-2736D73CFC5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2" y="1150938"/>
            <a:ext cx="8495999" cy="35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675"/>
            </a:lvl6pPr>
            <a:lvl7pPr>
              <a:defRPr sz="675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BCAE12-7456-4DFA-8832-22E05FDDD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1FF1B3-6C52-429B-B6E4-B7B0F4F27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23999" y="4803984"/>
            <a:ext cx="8117532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348D45-3AD0-4D87-AB1B-0B3F1D9CDB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441532" y="4803984"/>
            <a:ext cx="378469" cy="138499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84FC1FAD-68BA-45FC-95C2-D996FAEB7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45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5648160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00"/>
          </a:xfrm>
          <a:solidFill>
            <a:srgbClr val="CCCCCC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C36D145-7D48-43DF-A3F6-93C7BE477D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441327"/>
            <a:ext cx="8658000" cy="543577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40802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241929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5642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8816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C4F0112-2910-40C5-9080-8F8BD963E6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625470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82AB236-DAFD-49F7-BBC2-7E52C86EE7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solidFill>
            <a:srgbClr val="333333"/>
          </a:solidFill>
        </p:spPr>
        <p:txBody>
          <a:bodyPr lIns="72000" tIns="72000" rIns="72000" bIns="72000"/>
          <a:lstStyle>
            <a:lvl1pPr marL="0" marR="0" indent="0" algn="r" defTabSz="3857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281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F2E6C-875C-432B-B47A-A9E589B7C4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CD9EC0-783C-4E03-8B54-EB815AE37D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23999" y="4803984"/>
            <a:ext cx="8117532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64768-AEA5-4631-BC4A-8DB3B9447D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441532" y="4803984"/>
            <a:ext cx="378469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66D239E5-258B-41CA-ABAF-4A71EA5D0B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2" y="1150938"/>
            <a:ext cx="8495999" cy="35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marR="0" indent="0" algn="l" defTabSz="3857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281"/>
              </a:spcAft>
              <a:buClrTx/>
              <a:buSzTx/>
              <a:buFont typeface="Arial" panose="020B0604020202020204" pitchFamily="34" charset="0"/>
              <a:buNone/>
              <a:tabLst/>
              <a:defRPr sz="675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675">
                <a:solidFill>
                  <a:schemeClr val="bg1"/>
                </a:solidFill>
              </a:defRPr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19C17D38-E07D-4DBA-8A51-4DD4B0A923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45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9438332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full screen video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DB4843D2-D66C-4483-9BEF-0EA790E357B6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35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 vide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0885550-4E65-4CBF-8046-671CF042C5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7893F3CA-BCB9-4004-97E6-F5E4DB1FA0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45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38188053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23999" y="4803984"/>
            <a:ext cx="8117532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441532" y="4803984"/>
            <a:ext cx="378469" cy="138499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ABAA4C-A627-4F72-ADBD-217F33287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74118" y="1963196"/>
            <a:ext cx="5233987" cy="897618"/>
          </a:xfrm>
        </p:spPr>
        <p:txBody>
          <a:bodyPr>
            <a:noAutofit/>
          </a:bodyPr>
          <a:lstStyle>
            <a:lvl1pPr>
              <a:lnSpc>
                <a:spcPts val="1688"/>
              </a:lnSpc>
              <a:spcAft>
                <a:spcPts val="0"/>
              </a:spcAft>
              <a:defRPr sz="1406" i="1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This space is reserved for quotes.</a:t>
            </a:r>
            <a:br>
              <a:rPr lang="en-US" dirty="0"/>
            </a:br>
            <a:r>
              <a:rPr lang="en-US" dirty="0"/>
              <a:t>Delivery Italic, 25 pt.”</a:t>
            </a:r>
          </a:p>
        </p:txBody>
      </p:sp>
    </p:spTree>
    <p:extLst>
      <p:ext uri="{BB962C8B-B14F-4D97-AF65-F5344CB8AC3E}">
        <p14:creationId xmlns:p14="http://schemas.microsoft.com/office/powerpoint/2010/main" val="30902058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23999" y="4803984"/>
            <a:ext cx="8117532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441532" y="4803984"/>
            <a:ext cx="378469" cy="138499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0DCF4F-94A3-4ECD-931B-78A92C777558}"/>
              </a:ext>
            </a:extLst>
          </p:cNvPr>
          <p:cNvSpPr txBox="1"/>
          <p:nvPr/>
        </p:nvSpPr>
        <p:spPr>
          <a:xfrm>
            <a:off x="319295" y="1485179"/>
            <a:ext cx="3134163" cy="3116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25" b="0" cap="all" baseline="0" noProof="0" dirty="0">
                <a:solidFill>
                  <a:schemeClr val="accent4"/>
                </a:solidFill>
                <a:latin typeface="Delivery Cd Black" panose="020F0906020204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20216661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841772"/>
            <a:ext cx="7772400" cy="1790700"/>
          </a:xfrm>
        </p:spPr>
        <p:txBody>
          <a:bodyPr anchor="b"/>
          <a:lstStyle>
            <a:lvl1pPr algn="ctr">
              <a:defRPr sz="3375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350"/>
            </a:lvl1pPr>
            <a:lvl2pPr marL="257178" indent="0" algn="ctr">
              <a:buNone/>
              <a:defRPr sz="1125"/>
            </a:lvl2pPr>
            <a:lvl3pPr marL="514356" indent="0" algn="ctr">
              <a:buNone/>
              <a:defRPr sz="1013"/>
            </a:lvl3pPr>
            <a:lvl4pPr marL="771535" indent="0" algn="ctr">
              <a:buNone/>
              <a:defRPr sz="900"/>
            </a:lvl4pPr>
            <a:lvl5pPr marL="1028713" indent="0" algn="ctr">
              <a:buNone/>
              <a:defRPr sz="900"/>
            </a:lvl5pPr>
            <a:lvl6pPr marL="1285891" indent="0" algn="ctr">
              <a:buNone/>
              <a:defRPr sz="900"/>
            </a:lvl6pPr>
            <a:lvl7pPr marL="1543069" indent="0" algn="ctr">
              <a:buNone/>
              <a:defRPr sz="900"/>
            </a:lvl7pPr>
            <a:lvl8pPr marL="1800248" indent="0" algn="ctr">
              <a:buNone/>
              <a:defRPr sz="900"/>
            </a:lvl8pPr>
            <a:lvl9pPr marL="2057426" indent="0" algn="ctr">
              <a:buNone/>
              <a:defRPr sz="9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15962-D530-9A41-8D41-9AD4A3889D41}" type="datetimeFigureOut">
              <a:rPr lang="en-US" smtClean="0"/>
              <a:pPr/>
              <a:t>1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3999" y="4803984"/>
            <a:ext cx="8117532" cy="1384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41532" y="4803984"/>
            <a:ext cx="378469" cy="138499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4299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dark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B4A82-6837-42CB-8B67-FDC5119BE9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9144000" cy="5148000"/>
          </a:xfrm>
          <a:gradFill flip="none" rotWithShape="1">
            <a:gsLst>
              <a:gs pos="100000">
                <a:schemeClr val="tx1">
                  <a:alpha val="0"/>
                </a:schemeClr>
              </a:gs>
              <a:gs pos="40000">
                <a:schemeClr val="tx1">
                  <a:alpha val="30000"/>
                </a:schemeClr>
              </a:gs>
            </a:gsLst>
            <a:lin ang="0" scaled="1"/>
            <a:tileRect/>
          </a:gra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GB" dirty="0"/>
              <a:t>1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EBE0D14-C041-444F-B729-0732261905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8000"/>
          </a:xfrm>
          <a:solidFill>
            <a:srgbClr val="333333"/>
          </a:solidFill>
        </p:spPr>
        <p:txBody>
          <a:bodyPr lIns="324000" tIns="576000"/>
          <a:lstStyle>
            <a:lvl1pPr>
              <a:defRPr sz="1000" b="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use and adjust this transparent box to darken the background image for good readability. Please insert an image and send it to the background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DFF7BB-5301-4F2D-9EE9-581891DB91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441327"/>
            <a:ext cx="8658000" cy="543577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40802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bg1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241929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bg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5642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8816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3AE83C8-1BB0-4112-BB84-46ED14A646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3326"/>
            <a:ext cx="1493044" cy="22621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68750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017985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519112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ection divider with Gradient,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134C61-AE90-4876-9405-4282167F38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Commerce Solutions internal BRM I &lt;Country&gt; I 10 August 202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D195B8-0DD2-4278-B191-4D18AA251F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5967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58969"/>
            <a:ext cx="4644723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60096"/>
            <a:ext cx="4644723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ection divider </a:t>
            </a:r>
            <a:br>
              <a:rPr lang="en-US" dirty="0"/>
            </a:br>
            <a:r>
              <a:rPr lang="en-US" dirty="0"/>
              <a:t>with image, 36 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6" y="0"/>
            <a:ext cx="3851275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55C8B4-1569-420F-94F8-0A45D58CC3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HL eCommerce Solutions internal BRM I &lt;Country&gt; I 10 August 202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9E2F84-6B48-4F57-8783-342F789CB3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7136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55AA5-C875-4E2C-962B-7BF752DF5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3ED683-F9E2-432B-9EE5-F787159B7C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Commerce Solutions internal BRM I &lt;Country&gt; I 10 August 202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0C2FE-3516-4404-9D7F-3E6C342436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BBD46-F6A3-49DC-8F32-053AD1A886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850" y="1150938"/>
            <a:ext cx="2722563" cy="3530600"/>
          </a:xfr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 dirty="0"/>
              <a:t>Sample section, Delivery Bold, </a:t>
            </a:r>
            <a:br>
              <a:rPr lang="en-US" dirty="0"/>
            </a:br>
            <a:r>
              <a:rPr lang="en-US" dirty="0"/>
              <a:t>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ample text, Delivery, 12 </a:t>
            </a:r>
            <a:r>
              <a:rPr lang="en-US" dirty="0" err="1"/>
              <a:t>pt</a:t>
            </a:r>
            <a:endParaRPr lang="en-US" dirty="0"/>
          </a:p>
          <a:p>
            <a:pPr lvl="0"/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39E3AB-4E3D-4482-A3E6-FBBC80DEA3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8339" y="1150938"/>
            <a:ext cx="2722564" cy="3530600"/>
          </a:xfr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 startAt="7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 dirty="0"/>
              <a:t>Sample section, Delivery Bold, </a:t>
            </a:r>
            <a:br>
              <a:rPr lang="en-US" dirty="0"/>
            </a:br>
            <a:r>
              <a:rPr lang="en-US" dirty="0"/>
              <a:t>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ample text, Delivery, 12 </a:t>
            </a:r>
            <a:r>
              <a:rPr lang="en-US" dirty="0" err="1"/>
              <a:t>pt</a:t>
            </a:r>
            <a:endParaRPr lang="en-US" dirty="0"/>
          </a:p>
          <a:p>
            <a:pPr lvl="0"/>
            <a:endParaRPr lang="en-US" dirty="0"/>
          </a:p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83370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F4958-514A-4601-B68D-C79842B99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27EF1F-9ACF-48EE-A949-EAF1464539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eCommerce Solutions internal BRM I &lt;Country&gt; I 10 August 202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8F358-6501-48B8-80CA-E7836E5B98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B14529-BCAE-43FA-A029-C343F83E04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4000" y="1150938"/>
            <a:ext cx="8495999" cy="35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sz="1200" dirty="0"/>
              <a:t>Bullet number, Delivery, 12 </a:t>
            </a:r>
            <a:r>
              <a:rPr lang="en-US" sz="1200" dirty="0" err="1"/>
              <a:t>pt</a:t>
            </a:r>
            <a:r>
              <a:rPr lang="en-US" sz="1200" dirty="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5CED03-C33D-4356-A21D-74205078B24D}"/>
              </a:ext>
            </a:extLst>
          </p:cNvPr>
          <p:cNvSpPr/>
          <p:nvPr/>
        </p:nvSpPr>
        <p:spPr>
          <a:xfrm>
            <a:off x="2286000" y="1729212"/>
            <a:ext cx="4572000" cy="300082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704087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512654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Folie" r:id="rId27" imgW="282" imgH="282" progId="TCLayout.ActiveDocument.1">
                  <p:embed/>
                </p:oleObj>
              </mc:Choice>
              <mc:Fallback>
                <p:oleObj name="think-cell Folie" r:id="rId27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noAutofit/>
          </a:bodyPr>
          <a:lstStyle/>
          <a:p>
            <a:pPr marL="0" lvl="0" indent="0" algn="l" eaLnBrk="1"/>
            <a:endParaRPr lang="en-US" sz="1800" b="1" i="0" baseline="0" dirty="0" err="1">
              <a:solidFill>
                <a:schemeClr val="tx1"/>
              </a:solidFill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A856C2E-8F2D-41A0-AE6C-F0526A45A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99" y="4803982"/>
            <a:ext cx="8117532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DHL eCommerce Solutions internal BRM I &lt;Country&gt; I 10 August 2020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C9B7831-1594-4A3A-AB85-33FDCF3EA9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41531" y="4803982"/>
            <a:ext cx="378469" cy="1384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meta-classification">
            <a:extLst>
              <a:ext uri="{FF2B5EF4-FFF2-40B4-BE49-F238E27FC236}">
                <a16:creationId xmlns:a16="http://schemas.microsoft.com/office/drawing/2014/main" id="{CB3C5A58-B5FD-41CE-A3B3-6112D71801CF}"/>
              </a:ext>
            </a:extLst>
          </p:cNvPr>
          <p:cNvSpPr/>
          <p:nvPr/>
        </p:nvSpPr>
        <p:spPr>
          <a:xfrm>
            <a:off x="324000" y="116119"/>
            <a:ext cx="2736000" cy="144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R="0" algn="l" rtl="0">
              <a:lnSpc>
                <a:spcPct val="100000"/>
              </a:lnSpc>
              <a:spcBef>
                <a:spcPts val="0"/>
              </a:spcBef>
            </a:pPr>
            <a:r>
              <a:rPr lang="en-US" sz="800" b="1" i="0" u="none" strike="noStrike" cap="all" baseline="0" dirty="0">
                <a:solidFill>
                  <a:schemeClr val="accent1"/>
                </a:solidFill>
                <a:latin typeface="+mn-lt"/>
              </a:rPr>
              <a:t>Internal use onl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9B0AD-0310-4651-A938-50E6BDB4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000" y="1150938"/>
            <a:ext cx="8495999" cy="35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sz="1200" dirty="0"/>
              <a:t>Paragraph Headline, Delivery Bold, 12 </a:t>
            </a:r>
            <a:r>
              <a:rPr lang="en-US" sz="1200" dirty="0" err="1"/>
              <a:t>pt</a:t>
            </a:r>
            <a:endParaRPr lang="en-US" sz="1200" dirty="0"/>
          </a:p>
          <a:p>
            <a:pPr lvl="6"/>
            <a:r>
              <a:rPr lang="en-US" sz="1200" dirty="0"/>
              <a:t>Bullet number, Delivery, 12 </a:t>
            </a:r>
            <a:r>
              <a:rPr lang="en-US" sz="1200" dirty="0" err="1"/>
              <a:t>pt</a:t>
            </a:r>
          </a:p>
          <a:p>
            <a:pPr lvl="6"/>
            <a:endParaRPr lang="en-US" dirty="0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85163"/>
            <a:ext cx="8495999" cy="4939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446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69" r:id="rId5"/>
    <p:sldLayoutId id="2147483653" r:id="rId6"/>
    <p:sldLayoutId id="2147483654" r:id="rId7"/>
    <p:sldLayoutId id="2147483666" r:id="rId8"/>
    <p:sldLayoutId id="2147483655" r:id="rId9"/>
    <p:sldLayoutId id="2147483656" r:id="rId10"/>
    <p:sldLayoutId id="2147483657" r:id="rId11"/>
    <p:sldLayoutId id="2147483658" r:id="rId12"/>
    <p:sldLayoutId id="2147483670" r:id="rId13"/>
    <p:sldLayoutId id="2147483671" r:id="rId14"/>
    <p:sldLayoutId id="2147483695" r:id="rId15"/>
    <p:sldLayoutId id="2147483661" r:id="rId16"/>
    <p:sldLayoutId id="2147483662" r:id="rId17"/>
    <p:sldLayoutId id="2147483663" r:id="rId18"/>
    <p:sldLayoutId id="2147483668" r:id="rId19"/>
    <p:sldLayoutId id="2147483664" r:id="rId20"/>
    <p:sldLayoutId id="2147483665" r:id="rId21"/>
    <p:sldLayoutId id="2147483696" r:id="rId22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35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+mj-lt"/>
        <a:buAutoNum type="arabicPeriod"/>
        <a:defRPr sz="7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000" kern="10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04" userDrawn="1">
          <p15:clr>
            <a:srgbClr val="F26B43"/>
          </p15:clr>
        </p15:guide>
        <p15:guide id="3" pos="5556" userDrawn="1">
          <p15:clr>
            <a:srgbClr val="F26B43"/>
          </p15:clr>
        </p15:guide>
        <p15:guide id="6" orient="horz" pos="725" userDrawn="1">
          <p15:clr>
            <a:srgbClr val="F26B43"/>
          </p15:clr>
        </p15:guide>
        <p15:guide id="17" orient="horz" pos="2949" userDrawn="1">
          <p15:clr>
            <a:srgbClr val="F26B43"/>
          </p15:clr>
        </p15:guide>
        <p15:guide id="18" orient="horz" pos="2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9B0AD-0310-4651-A938-50E6BDB4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002" y="1150938"/>
            <a:ext cx="8495999" cy="35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sz="675" dirty="0"/>
              <a:t>Paragraph Headline, Delivery Bold, 12 </a:t>
            </a:r>
            <a:r>
              <a:rPr lang="en-US" sz="675" dirty="0" err="1"/>
              <a:t>pt</a:t>
            </a:r>
            <a:endParaRPr lang="en-US" sz="675" dirty="0"/>
          </a:p>
          <a:p>
            <a:pPr lvl="6"/>
            <a:r>
              <a:rPr lang="en-US" sz="675" dirty="0"/>
              <a:t>Bullet number, Delivery, 12 </a:t>
            </a:r>
            <a:r>
              <a:rPr lang="en-US" sz="675" dirty="0" err="1"/>
              <a:t>pt</a:t>
            </a:r>
          </a:p>
          <a:p>
            <a:pPr lvl="6"/>
            <a:endParaRPr lang="en-US" dirty="0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2" y="385163"/>
            <a:ext cx="8495999" cy="4939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497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</p:sldLayoutIdLst>
  <p:txStyles>
    <p:titleStyle>
      <a:lvl1pPr algn="l" defTabSz="1028713" rtl="0" eaLnBrk="1" latinLnBrk="0" hangingPunct="1">
        <a:lnSpc>
          <a:spcPct val="100000"/>
        </a:lnSpc>
        <a:spcBef>
          <a:spcPct val="0"/>
        </a:spcBef>
        <a:buNone/>
        <a:defRPr sz="27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1028713" rtl="0" eaLnBrk="1" latinLnBrk="0" hangingPunct="1">
        <a:lnSpc>
          <a:spcPct val="110000"/>
        </a:lnSpc>
        <a:spcBef>
          <a:spcPts val="0"/>
        </a:spcBef>
        <a:spcAft>
          <a:spcPts val="7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3" indent="-270003" algn="l" defTabSz="1028713" rtl="0" eaLnBrk="1" latinLnBrk="0" hangingPunct="1">
        <a:lnSpc>
          <a:spcPct val="110000"/>
        </a:lnSpc>
        <a:spcBef>
          <a:spcPts val="0"/>
        </a:spcBef>
        <a:spcAft>
          <a:spcPts val="750"/>
        </a:spcAft>
        <a:buClr>
          <a:schemeClr val="accent4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7" indent="-270003" algn="l" defTabSz="1028713" rtl="0" eaLnBrk="1" latinLnBrk="0" hangingPunct="1">
        <a:lnSpc>
          <a:spcPct val="110000"/>
        </a:lnSpc>
        <a:spcBef>
          <a:spcPts val="0"/>
        </a:spcBef>
        <a:spcAft>
          <a:spcPts val="750"/>
        </a:spcAft>
        <a:buClr>
          <a:schemeClr val="accent4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10010" indent="-270003" algn="l" defTabSz="1028713" rtl="0" eaLnBrk="1" latinLnBrk="0" hangingPunct="1">
        <a:lnSpc>
          <a:spcPct val="110000"/>
        </a:lnSpc>
        <a:spcBef>
          <a:spcPts val="0"/>
        </a:spcBef>
        <a:spcAft>
          <a:spcPts val="750"/>
        </a:spcAft>
        <a:buClr>
          <a:schemeClr val="accent4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028713" rtl="0" eaLnBrk="1" latinLnBrk="0" hangingPunct="1">
        <a:lnSpc>
          <a:spcPct val="110000"/>
        </a:lnSpc>
        <a:spcBef>
          <a:spcPts val="0"/>
        </a:spcBef>
        <a:spcAft>
          <a:spcPts val="750"/>
        </a:spcAft>
        <a:buFont typeface="Arial" panose="020B0604020202020204" pitchFamily="34" charset="0"/>
        <a:buNone/>
        <a:defRPr sz="225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1028713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2025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270003" indent="-270003" algn="l" defTabSz="1028713" rtl="0" eaLnBrk="1" latinLnBrk="0" hangingPunct="1">
        <a:lnSpc>
          <a:spcPct val="110000"/>
        </a:lnSpc>
        <a:spcBef>
          <a:spcPts val="0"/>
        </a:spcBef>
        <a:spcAft>
          <a:spcPts val="750"/>
        </a:spcAft>
        <a:buClr>
          <a:schemeClr val="accent4"/>
        </a:buClr>
        <a:buFont typeface="+mj-lt"/>
        <a:buAutoNum type="arabicPeriod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3857673" indent="-257178" algn="l" defTabSz="1028713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372030" indent="-257178" algn="l" defTabSz="1028713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8713" rtl="0" eaLnBrk="1" latinLnBrk="0" hangingPunct="1">
        <a:defRPr sz="1500" kern="1000">
          <a:solidFill>
            <a:schemeClr val="tx1"/>
          </a:solidFill>
          <a:latin typeface="+mn-lt"/>
          <a:ea typeface="+mn-ea"/>
          <a:cs typeface="+mn-cs"/>
        </a:defRPr>
      </a:lvl1pPr>
      <a:lvl2pPr marL="514356" algn="l" defTabSz="102871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713" algn="l" defTabSz="102871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069" algn="l" defTabSz="102871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426" algn="l" defTabSz="102871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1782" algn="l" defTabSz="102871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139" algn="l" defTabSz="102871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0495" algn="l" defTabSz="102871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4851" algn="l" defTabSz="102871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136" userDrawn="1">
          <p15:clr>
            <a:srgbClr val="F26B43"/>
          </p15:clr>
        </p15:guide>
        <p15:guide id="3" pos="3704" userDrawn="1">
          <p15:clr>
            <a:srgbClr val="F26B43"/>
          </p15:clr>
        </p15:guide>
        <p15:guide id="6" orient="horz" pos="272" userDrawn="1">
          <p15:clr>
            <a:srgbClr val="F26B43"/>
          </p15:clr>
        </p15:guide>
        <p15:guide id="17" orient="horz" pos="1106" userDrawn="1">
          <p15:clr>
            <a:srgbClr val="F26B43"/>
          </p15:clr>
        </p15:guide>
        <p15:guide id="18" orient="horz" pos="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Relationship Id="rId6" Type="http://schemas.openxmlformats.org/officeDocument/2006/relationships/comments" Target="../comments/comment1.xml"/><Relationship Id="rId5" Type="http://schemas.openxmlformats.org/officeDocument/2006/relationships/hyperlink" Target="mailto:GICT@dhl.com" TargetMode="External"/><Relationship Id="rId4" Type="http://schemas.openxmlformats.org/officeDocument/2006/relationships/hyperlink" Target="mailto:socialmedia@dpdhl.com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lot.dhl.com/the-resilience-of-job-hunting-youth-during-the-global-pandemic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lot.dhl.com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9.jpeg"/><Relationship Id="rId4" Type="http://schemas.openxmlformats.org/officeDocument/2006/relationships/hyperlink" Target="https://www.dhl.com/discover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hyperlink" Target="mailto:groupbrandservices@dpdhl.com" TargetMode="Externa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45471" cy="2573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 err="1">
              <a:solidFill>
                <a:schemeClr val="tx1"/>
              </a:solidFill>
              <a:latin typeface="Delivery Cd Black" panose="020F0906020204020204" pitchFamily="34" charset="0"/>
              <a:ea typeface="+mj-ea"/>
              <a:cs typeface="+mj-cs"/>
              <a:sym typeface="Delivery Cd Black" panose="020F0906020204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D8AA51-79C2-4231-920A-30B201722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Goteach</a:t>
            </a:r>
            <a:r>
              <a:rPr lang="en-US" dirty="0"/>
              <a:t> social media toolkit:</a:t>
            </a:r>
            <a:br>
              <a:rPr lang="en-US" dirty="0"/>
            </a:br>
            <a:r>
              <a:rPr lang="en-US" dirty="0"/>
              <a:t>international day of education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D29B00-2C46-4986-B7E6-FADD134C5E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HL – Excellence. Simply delivered.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D60BD94-2CF9-4A9E-896A-A2DC09EE24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999" y="2147527"/>
            <a:ext cx="7203578" cy="400110"/>
          </a:xfrm>
        </p:spPr>
        <p:txBody>
          <a:bodyPr/>
          <a:lstStyle/>
          <a:p>
            <a:r>
              <a:rPr lang="en-US" dirty="0"/>
              <a:t>24 January 2022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56729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3E2FCC3-8A6E-45DA-807A-D922DE57C48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272"/>
          <a:stretch/>
        </p:blipFill>
        <p:spPr>
          <a:xfrm>
            <a:off x="4866520" y="1625600"/>
            <a:ext cx="4277482" cy="2257804"/>
          </a:xfrm>
          <a:prstGeom prst="rect">
            <a:avLst/>
          </a:prstGeom>
          <a:noFill/>
        </p:spPr>
      </p:pic>
      <p:sp>
        <p:nvSpPr>
          <p:cNvPr id="5" name="Slide Number Placeholder 4" hidden="1"/>
          <p:cNvSpPr>
            <a:spLocks noGrp="1"/>
          </p:cNvSpPr>
          <p:nvPr>
            <p:ph type="sldNum" sz="quarter" idx="16"/>
          </p:nvPr>
        </p:nvSpPr>
        <p:spPr>
          <a:xfrm>
            <a:off x="8441531" y="4803982"/>
            <a:ext cx="378469" cy="138499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C2245BC1-4D7B-4ED3-8F01-840FA35126C6}" type="slidenum">
              <a:rPr lang="en-US" smtClean="0"/>
              <a:pPr>
                <a:spcAft>
                  <a:spcPts val="600"/>
                </a:spcAft>
              </a:pPr>
              <a:t>1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001" y="1260096"/>
            <a:ext cx="4644723" cy="1498873"/>
          </a:xfrm>
        </p:spPr>
        <p:txBody>
          <a:bodyPr anchor="b">
            <a:normAutofit/>
          </a:bodyPr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1599600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bject 2"/>
          <p:cNvSpPr txBox="1">
            <a:spLocks/>
          </p:cNvSpPr>
          <p:nvPr/>
        </p:nvSpPr>
        <p:spPr>
          <a:xfrm>
            <a:off x="414000" y="190897"/>
            <a:ext cx="8316000" cy="615553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pPr marL="12700">
              <a:spcBef>
                <a:spcPct val="0"/>
              </a:spcBef>
              <a:spcAft>
                <a:spcPts val="600"/>
              </a:spcAft>
            </a:pPr>
            <a:r>
              <a:rPr lang="en-GB" sz="1800" b="1">
                <a:solidFill>
                  <a:schemeClr val="accent4"/>
                </a:solidFill>
                <a:latin typeface="+mj-lt"/>
                <a:ea typeface="+mj-ea"/>
                <a:cs typeface="+mj-cs"/>
                <a:sym typeface="Delivery" panose="020F0503020204020204" pitchFamily="34" charset="0"/>
              </a:rPr>
              <a:t>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369013" y="4644000"/>
            <a:ext cx="364137" cy="153888"/>
          </a:xfrm>
        </p:spPr>
        <p:txBody>
          <a:bodyPr vert="horz" wrap="square" lIns="0" tIns="0" rIns="0" bIns="0" rtlCol="0" anchor="b" anchorCtr="0">
            <a:normAutofit/>
          </a:bodyPr>
          <a:lstStyle/>
          <a:p>
            <a:pPr>
              <a:spcAft>
                <a:spcPts val="600"/>
              </a:spcAft>
            </a:pPr>
            <a:fld id="{C2245BC1-4D7B-4ED3-8F01-840FA35126C6}" type="slidenum">
              <a:rPr lang="de-DE" smtClean="0"/>
              <a:pPr>
                <a:spcAft>
                  <a:spcPts val="600"/>
                </a:spcAft>
              </a:pPr>
              <a:t>2</a:t>
            </a:fld>
            <a:endParaRPr lang="de-DE"/>
          </a:p>
        </p:txBody>
      </p:sp>
      <p:sp>
        <p:nvSpPr>
          <p:cNvPr id="5" name="Rectangle 4"/>
          <p:cNvSpPr/>
          <p:nvPr/>
        </p:nvSpPr>
        <p:spPr>
          <a:xfrm>
            <a:off x="414336" y="890712"/>
            <a:ext cx="8490177" cy="1569459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/>
          <a:p>
            <a:pPr>
              <a:spcAft>
                <a:spcPts val="500"/>
              </a:spcAft>
            </a:pPr>
            <a:r>
              <a:rPr lang="en-US" sz="1100" dirty="0">
                <a:sym typeface="Delivery" panose="020F0503020204020204" pitchFamily="34" charset="0"/>
              </a:rPr>
              <a:t>To celebrate the International Day of Education which falls on 24 January every year, we can use that day to generate greater awareness of the </a:t>
            </a:r>
            <a:r>
              <a:rPr lang="en-US" sz="1100" dirty="0" err="1">
                <a:sym typeface="Delivery" panose="020F0503020204020204" pitchFamily="34" charset="0"/>
              </a:rPr>
              <a:t>GoTeach</a:t>
            </a:r>
            <a:r>
              <a:rPr lang="en-US" sz="1100" dirty="0">
                <a:sym typeface="Delivery" panose="020F0503020204020204" pitchFamily="34" charset="0"/>
              </a:rPr>
              <a:t> programs at Deutsche Post DHL Group. Deutsche Post DHL Group has been successfully running the </a:t>
            </a:r>
            <a:r>
              <a:rPr lang="en-US" sz="1100" dirty="0" err="1">
                <a:sym typeface="Delivery" panose="020F0503020204020204" pitchFamily="34" charset="0"/>
              </a:rPr>
              <a:t>GoTeach</a:t>
            </a:r>
            <a:r>
              <a:rPr lang="en-US" sz="1100" dirty="0">
                <a:sym typeface="Delivery" panose="020F0503020204020204" pitchFamily="34" charset="0"/>
              </a:rPr>
              <a:t> program for over a decade now across our extensive global network. We have rich and diverse stories to tell in each country, many of which remain as hidden gems in the countries. </a:t>
            </a:r>
          </a:p>
          <a:p>
            <a:pPr>
              <a:spcAft>
                <a:spcPts val="500"/>
              </a:spcAft>
            </a:pPr>
            <a:endParaRPr lang="en-US" sz="1100" dirty="0">
              <a:sym typeface="Delivery" panose="020F0503020204020204" pitchFamily="34" charset="0"/>
            </a:endParaRPr>
          </a:p>
          <a:p>
            <a:pPr>
              <a:spcAft>
                <a:spcPts val="500"/>
              </a:spcAft>
            </a:pPr>
            <a:r>
              <a:rPr lang="en-US" sz="1100" dirty="0">
                <a:sym typeface="Delivery" panose="020F0503020204020204" pitchFamily="34" charset="0"/>
              </a:rPr>
              <a:t>This toolkit, which focuses on using the </a:t>
            </a:r>
            <a:r>
              <a:rPr lang="en-US" sz="1100" dirty="0"/>
              <a:t>text-graphics combination</a:t>
            </a:r>
            <a:r>
              <a:rPr lang="en-US" sz="1100" dirty="0">
                <a:sym typeface="Delivery" panose="020F0503020204020204" pitchFamily="34" charset="0"/>
              </a:rPr>
              <a:t>, is developed to help us mine for these testimonials/human stories. The idea is to share the first-hand experiences and perspectives of our employee/s, beneficiary, or our </a:t>
            </a:r>
            <a:r>
              <a:rPr lang="en-US" sz="1100" dirty="0" err="1">
                <a:sym typeface="Delivery" panose="020F0503020204020204" pitchFamily="34" charset="0"/>
              </a:rPr>
              <a:t>GoTeach</a:t>
            </a:r>
            <a:r>
              <a:rPr lang="en-US" sz="1100" dirty="0">
                <a:sym typeface="Delivery" panose="020F0503020204020204" pitchFamily="34" charset="0"/>
              </a:rPr>
              <a:t> partner. Through these stories, we hope to encourage and inspire everyone to keep the </a:t>
            </a:r>
            <a:r>
              <a:rPr lang="en-US" sz="1100" dirty="0" err="1">
                <a:sym typeface="Delivery" panose="020F0503020204020204" pitchFamily="34" charset="0"/>
              </a:rPr>
              <a:t>GoTeach</a:t>
            </a:r>
            <a:r>
              <a:rPr lang="en-US" sz="1100" dirty="0">
                <a:sym typeface="Delivery" panose="020F0503020204020204" pitchFamily="34" charset="0"/>
              </a:rPr>
              <a:t> program alive for the children and youths who benefit from it. And to bring to life the impact we have in local communities that our usual reports rarely do. 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872B5FA2-12A1-4685-9FF0-A5C92E1FB565}"/>
              </a:ext>
            </a:extLst>
          </p:cNvPr>
          <p:cNvSpPr>
            <a:spLocks noGrp="1"/>
          </p:cNvSpPr>
          <p:nvPr>
            <p:ph type="body" sz="quarter" idx="2"/>
          </p:nvPr>
        </p:nvSpPr>
        <p:spPr>
          <a:xfrm>
            <a:off x="414000" y="0"/>
            <a:ext cx="977832" cy="206719"/>
          </a:xfrm>
        </p:spPr>
        <p:txBody>
          <a:bodyPr/>
          <a:lstStyle/>
          <a:p>
            <a:r>
              <a:rPr lang="en-US" dirty="0"/>
              <a:t>Internal use only</a:t>
            </a:r>
          </a:p>
        </p:txBody>
      </p:sp>
      <p:pic>
        <p:nvPicPr>
          <p:cNvPr id="7170" name="Picture 2" descr="International Day of Education - Trickster Theatre">
            <a:extLst>
              <a:ext uri="{FF2B5EF4-FFF2-40B4-BE49-F238E27FC236}">
                <a16:creationId xmlns:a16="http://schemas.microsoft.com/office/drawing/2014/main" id="{B030A59F-706D-4967-8BC1-47BDB334A2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5452" y="2460171"/>
            <a:ext cx="4767943" cy="2441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63417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28" name="object 2"/>
          <p:cNvSpPr txBox="1">
            <a:spLocks/>
          </p:cNvSpPr>
          <p:nvPr/>
        </p:nvSpPr>
        <p:spPr>
          <a:xfrm>
            <a:off x="291129" y="346936"/>
            <a:ext cx="10069530" cy="5594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defTabSz="914400">
              <a:lnSpc>
                <a:spcPts val="4405"/>
              </a:lnSpc>
            </a:pPr>
            <a:r>
              <a:rPr lang="en-GB" sz="2000" b="1" kern="0" dirty="0">
                <a:solidFill>
                  <a:srgbClr val="D71635"/>
                </a:solidFill>
                <a:latin typeface="Delivery Cd Black" panose="020F0906020204020204" pitchFamily="34" charset="0"/>
                <a:cs typeface="Arial"/>
              </a:rPr>
              <a:t>LOCAL TESTIMONIALS/STORIES</a:t>
            </a:r>
            <a:endParaRPr lang="en-GB" sz="2000" kern="0" dirty="0">
              <a:solidFill>
                <a:sysClr val="windowText" lastClr="000000"/>
              </a:solidFill>
              <a:latin typeface="Delivery Cd Black" panose="020F0906020204020204" pitchFamily="34" charset="0"/>
              <a:cs typeface="Arial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214778" y="1104829"/>
            <a:ext cx="625917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sz="1100" dirty="0"/>
              <a:t>Speak to fellow volunteers and local </a:t>
            </a:r>
            <a:r>
              <a:rPr lang="en-US" sz="1100" dirty="0" err="1"/>
              <a:t>GoTeach</a:t>
            </a:r>
            <a:r>
              <a:rPr lang="en-US" sz="1100" dirty="0"/>
              <a:t> partners to find these local testimonials that can be shared internally and externally. The story can focus on one individual or a group, and their experience of benefiting from DHL’s </a:t>
            </a:r>
            <a:r>
              <a:rPr lang="en-US" sz="1100" dirty="0" err="1"/>
              <a:t>GoTeach</a:t>
            </a:r>
            <a:r>
              <a:rPr lang="en-US" sz="1100" dirty="0"/>
              <a:t> program. In external channels, these stories can be shared as social media posts, along with a social card (see next slide)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47A3777-FD2E-584C-81B1-560EC5A99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776" y="1915106"/>
            <a:ext cx="6356711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Spotlight one individual or group of individuals who have an emotionally powerful or thought-provoking story that they’ve seen, learnt, or gained. The individual might be a beneficiary (e.g. </a:t>
            </a:r>
            <a:r>
              <a:rPr lang="en-US" sz="1100" dirty="0" err="1"/>
              <a:t>GoTeach</a:t>
            </a:r>
            <a:r>
              <a:rPr lang="en-US" sz="1100" dirty="0"/>
              <a:t> student), employee (e.g. </a:t>
            </a:r>
            <a:r>
              <a:rPr lang="en-US" sz="1100" dirty="0" err="1"/>
              <a:t>GoTeach</a:t>
            </a:r>
            <a:r>
              <a:rPr lang="en-US" sz="1100" dirty="0"/>
              <a:t> volunteer), or a third-party stakeholder (e.g. an employee of SOS Children’s Village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Use direct quotes and specific details from the individual or group to illustrate the direct positive impact of DHL’s </a:t>
            </a:r>
            <a:r>
              <a:rPr lang="en-US" sz="1100" dirty="0" err="1"/>
              <a:t>GoTeach</a:t>
            </a:r>
            <a:r>
              <a:rPr lang="en-US" sz="1100" dirty="0"/>
              <a:t> program on a personal level for them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Proposed story structure: work with the person/s to share what the existing problem was, why it was a problem, and how things have changed for the better since then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4CE8EBE-D791-FF42-905E-DFD3825112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776" y="3462041"/>
            <a:ext cx="6307943" cy="1615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sz="1100" b="1" dirty="0"/>
              <a:t>Checklist:</a:t>
            </a:r>
          </a:p>
          <a:p>
            <a:pPr marL="171450" indent="-171450">
              <a:buFont typeface="Wingdings" pitchFamily="2" charset="2"/>
              <a:buChar char="q"/>
            </a:pPr>
            <a:r>
              <a:rPr lang="en-US" sz="1100" dirty="0"/>
              <a:t>Do I have a specific individual from my country/market in mind?</a:t>
            </a:r>
          </a:p>
          <a:p>
            <a:pPr marL="171450" indent="-171450">
              <a:buFont typeface="Wingdings" pitchFamily="2" charset="2"/>
              <a:buChar char="q"/>
            </a:pPr>
            <a:r>
              <a:rPr lang="en-US" sz="1100" dirty="0"/>
              <a:t>Is the person’s story emotionally impactful or thought-provoking?</a:t>
            </a:r>
          </a:p>
          <a:p>
            <a:pPr marL="171450" indent="-171450">
              <a:buFont typeface="Wingdings" pitchFamily="2" charset="2"/>
              <a:buChar char="q"/>
            </a:pPr>
            <a:r>
              <a:rPr lang="en-US" sz="1100" dirty="0"/>
              <a:t>Do I have specific approval from the employee/s / beneficiary / </a:t>
            </a:r>
            <a:r>
              <a:rPr lang="en-US" sz="1100" dirty="0" err="1"/>
              <a:t>GoTeach</a:t>
            </a:r>
            <a:r>
              <a:rPr lang="en-US" sz="1100" dirty="0"/>
              <a:t> partner to share this story?</a:t>
            </a:r>
          </a:p>
          <a:p>
            <a:pPr marL="171450" indent="-171450">
              <a:buFont typeface="Wingdings" pitchFamily="2" charset="2"/>
              <a:buChar char="q"/>
            </a:pPr>
            <a:r>
              <a:rPr lang="en-US" sz="1100" dirty="0"/>
              <a:t>Does my language capture the person’s tone of voice?</a:t>
            </a:r>
          </a:p>
          <a:p>
            <a:pPr marL="171450" indent="-171450">
              <a:buFont typeface="Wingdings" pitchFamily="2" charset="2"/>
              <a:buChar char="q"/>
            </a:pPr>
            <a:r>
              <a:rPr lang="en-US" sz="1100" dirty="0"/>
              <a:t>Have I linked the person’s story back to DHL’s </a:t>
            </a:r>
            <a:r>
              <a:rPr lang="en-US" sz="1100" dirty="0" err="1"/>
              <a:t>GoTeach</a:t>
            </a:r>
            <a:r>
              <a:rPr lang="en-US" sz="1100" dirty="0"/>
              <a:t> program and efforts?</a:t>
            </a:r>
          </a:p>
          <a:p>
            <a:pPr marL="171450" indent="-171450">
              <a:buFont typeface="Wingdings" pitchFamily="2" charset="2"/>
              <a:buChar char="q"/>
            </a:pPr>
            <a:r>
              <a:rPr lang="en-US" sz="1100" dirty="0"/>
              <a:t>Have I done my best to also celebrate the individual and their own interests (e.g. their organization) in our content?</a:t>
            </a:r>
          </a:p>
        </p:txBody>
      </p:sp>
      <p:pic>
        <p:nvPicPr>
          <p:cNvPr id="12290" name="Picture 2" descr="THE DAY FOR ALL – The International Day of Education - Century Media360">
            <a:extLst>
              <a:ext uri="{FF2B5EF4-FFF2-40B4-BE49-F238E27FC236}">
                <a16:creationId xmlns:a16="http://schemas.microsoft.com/office/drawing/2014/main" id="{DC8C986E-BF7D-40EE-813F-0837B5AA78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902"/>
          <a:stretch/>
        </p:blipFill>
        <p:spPr bwMode="auto">
          <a:xfrm rot="10800000">
            <a:off x="6571488" y="0"/>
            <a:ext cx="2572512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89115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elebrate International Day of Education - Language Magazine">
            <a:extLst>
              <a:ext uri="{FF2B5EF4-FFF2-40B4-BE49-F238E27FC236}">
                <a16:creationId xmlns:a16="http://schemas.microsoft.com/office/drawing/2014/main" id="{25C0A866-2975-4830-95A4-1B56A2B5A2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30"/>
          <a:stretch/>
        </p:blipFill>
        <p:spPr bwMode="auto">
          <a:xfrm>
            <a:off x="20" y="10"/>
            <a:ext cx="9143980" cy="514349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8" name="object 2"/>
          <p:cNvSpPr txBox="1">
            <a:spLocks/>
          </p:cNvSpPr>
          <p:nvPr/>
        </p:nvSpPr>
        <p:spPr>
          <a:xfrm>
            <a:off x="414000" y="190897"/>
            <a:ext cx="8316000" cy="615553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pPr marL="12700">
              <a:spcBef>
                <a:spcPct val="0"/>
              </a:spcBef>
              <a:spcAft>
                <a:spcPts val="600"/>
              </a:spcAft>
            </a:pPr>
            <a:r>
              <a:rPr lang="en-US" sz="1800" b="1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Delivery" panose="020F0503020204020204" pitchFamily="34" charset="0"/>
              </a:rPr>
              <a:t>TELLING THE STO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369013" y="4644000"/>
            <a:ext cx="364137" cy="153888"/>
          </a:xfrm>
        </p:spPr>
        <p:txBody>
          <a:bodyPr vert="horz" wrap="square" lIns="0" tIns="0" rIns="0" bIns="0" rtlCol="0" anchor="b" anchorCtr="0">
            <a:normAutofit/>
          </a:bodyPr>
          <a:lstStyle/>
          <a:p>
            <a:pPr>
              <a:spcAft>
                <a:spcPts val="600"/>
              </a:spcAft>
            </a:pPr>
            <a:fld id="{C2245BC1-4D7B-4ED3-8F01-840FA35126C6}" type="slidenum">
              <a:rPr lang="de-DE" smtClean="0"/>
              <a:pPr>
                <a:spcAft>
                  <a:spcPts val="600"/>
                </a:spcAft>
              </a:pPr>
              <a:t>4</a:t>
            </a:fld>
            <a:endParaRPr lang="de-DE"/>
          </a:p>
        </p:txBody>
      </p:sp>
      <p:sp>
        <p:nvSpPr>
          <p:cNvPr id="2" name="Rectangle 1"/>
          <p:cNvSpPr/>
          <p:nvPr/>
        </p:nvSpPr>
        <p:spPr>
          <a:xfrm>
            <a:off x="414000" y="928104"/>
            <a:ext cx="2926608" cy="328729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  <a:defRPr/>
            </a:pPr>
            <a:r>
              <a:rPr lang="en-US" sz="1100" dirty="0">
                <a:solidFill>
                  <a:schemeClr val="bg1"/>
                </a:solidFill>
                <a:sym typeface="Delivery" panose="020F0503020204020204" pitchFamily="34" charset="0"/>
              </a:rPr>
              <a:t>After you have collected your story, you can start writing a short social media post (see next slide for a sample). Thereafter, share it with the person/s  or organization for approval, along with one or two suitable images.</a:t>
            </a:r>
          </a:p>
          <a:p>
            <a:pPr>
              <a:lnSpc>
                <a:spcPct val="110000"/>
              </a:lnSpc>
              <a:spcAft>
                <a:spcPts val="500"/>
              </a:spcAft>
              <a:defRPr/>
            </a:pPr>
            <a:endParaRPr lang="en-US" sz="1100" dirty="0">
              <a:solidFill>
                <a:schemeClr val="bg1"/>
              </a:solidFill>
              <a:sym typeface="Delivery" panose="020F0503020204020204" pitchFamily="34" charset="0"/>
            </a:endParaRPr>
          </a:p>
          <a:p>
            <a:pPr>
              <a:lnSpc>
                <a:spcPct val="110000"/>
              </a:lnSpc>
              <a:spcAft>
                <a:spcPts val="500"/>
              </a:spcAft>
              <a:defRPr/>
            </a:pPr>
            <a:r>
              <a:rPr lang="en-US" sz="1100" dirty="0">
                <a:solidFill>
                  <a:schemeClr val="bg1"/>
                </a:solidFill>
                <a:sym typeface="Delivery" panose="020F0503020204020204" pitchFamily="34" charset="0"/>
              </a:rPr>
              <a:t>Once you have all the approvals in place, you can prepare the post for your local social media channel/s. If there isn’t an existing social media channel in your function, business unit and/or country, please send the post and image/s to </a:t>
            </a:r>
            <a:r>
              <a:rPr lang="en-US" sz="1100" dirty="0">
                <a:solidFill>
                  <a:schemeClr val="bg1"/>
                </a:solidFill>
                <a:highlight>
                  <a:srgbClr val="FFFF00"/>
                </a:highlight>
                <a:sym typeface="Delivery" panose="020F0503020204020204" pitchFamily="34" charset="0"/>
                <a:hlinkClick r:id="rId4"/>
              </a:rPr>
              <a:t>socialmedia@dpdhl.com</a:t>
            </a:r>
            <a:r>
              <a:rPr lang="en-US" sz="1100" dirty="0">
                <a:solidFill>
                  <a:schemeClr val="bg1"/>
                </a:solidFill>
                <a:highlight>
                  <a:srgbClr val="FFFF00"/>
                </a:highlight>
                <a:sym typeface="Delivery" panose="020F0503020204020204" pitchFamily="34" charset="0"/>
              </a:rPr>
              <a:t> or </a:t>
            </a:r>
            <a:r>
              <a:rPr lang="en-US" sz="1100" dirty="0">
                <a:solidFill>
                  <a:schemeClr val="bg1"/>
                </a:solidFill>
                <a:highlight>
                  <a:srgbClr val="FFFF00"/>
                </a:highlight>
                <a:sym typeface="Delivery" panose="020F0503020204020204" pitchFamily="34" charset="0"/>
                <a:hlinkClick r:id="rId5"/>
              </a:rPr>
              <a:t>GICT@dhl.com</a:t>
            </a:r>
            <a:r>
              <a:rPr lang="en-US" sz="1100" dirty="0">
                <a:solidFill>
                  <a:schemeClr val="bg1"/>
                </a:solidFill>
                <a:sym typeface="Delivery" panose="020F0503020204020204" pitchFamily="34" charset="0"/>
              </a:rPr>
              <a:t> to have them posted on our global social media channels. </a:t>
            </a:r>
          </a:p>
        </p:txBody>
      </p:sp>
      <p:sp>
        <p:nvSpPr>
          <p:cNvPr id="71" name="Text Placeholder 5">
            <a:extLst>
              <a:ext uri="{FF2B5EF4-FFF2-40B4-BE49-F238E27FC236}">
                <a16:creationId xmlns:a16="http://schemas.microsoft.com/office/drawing/2014/main" id="{8714F541-0377-4237-A38C-20EE4581FA99}"/>
              </a:ext>
            </a:extLst>
          </p:cNvPr>
          <p:cNvSpPr>
            <a:spLocks noGrp="1"/>
          </p:cNvSpPr>
          <p:nvPr>
            <p:ph type="body" sz="quarter" idx="2"/>
          </p:nvPr>
        </p:nvSpPr>
        <p:spPr>
          <a:xfrm>
            <a:off x="414000" y="0"/>
            <a:ext cx="977832" cy="206719"/>
          </a:xfrm>
        </p:spPr>
        <p:txBody>
          <a:bodyPr/>
          <a:lstStyle/>
          <a:p>
            <a:r>
              <a:rPr lang="en-US" dirty="0"/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3502827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8" name="object 2"/>
          <p:cNvSpPr txBox="1">
            <a:spLocks/>
          </p:cNvSpPr>
          <p:nvPr/>
        </p:nvSpPr>
        <p:spPr>
          <a:xfrm>
            <a:off x="291129" y="346936"/>
            <a:ext cx="10069530" cy="5594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defTabSz="914400">
              <a:lnSpc>
                <a:spcPts val="4405"/>
              </a:lnSpc>
            </a:pPr>
            <a:r>
              <a:rPr lang="en-GB" sz="2000" b="1" kern="0" dirty="0">
                <a:solidFill>
                  <a:srgbClr val="D71635"/>
                </a:solidFill>
                <a:latin typeface="Delivery Cd Black" panose="020F0906020204020204" pitchFamily="34" charset="0"/>
                <a:cs typeface="Arial"/>
              </a:rPr>
              <a:t>EXAMPLE - TESTIMONIALS</a:t>
            </a:r>
            <a:endParaRPr lang="en-GB" sz="2000" kern="0" dirty="0">
              <a:solidFill>
                <a:sysClr val="windowText" lastClr="000000"/>
              </a:solidFill>
              <a:latin typeface="Delivery Cd Black" panose="020F0906020204020204" pitchFamily="34" charset="0"/>
              <a:cs typeface="Arial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214778" y="1049965"/>
            <a:ext cx="5444615" cy="347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sz="1100" b="1" dirty="0"/>
              <a:t>Sample social media post:</a:t>
            </a:r>
          </a:p>
          <a:p>
            <a:r>
              <a:rPr lang="en-US" sz="1100" dirty="0"/>
              <a:t>The challenges of online learning in remote India have made </a:t>
            </a:r>
            <a:r>
              <a:rPr lang="en-US" sz="1100" dirty="0" err="1"/>
              <a:t>Tini</a:t>
            </a:r>
            <a:r>
              <a:rPr lang="en-US" sz="1100" dirty="0"/>
              <a:t> even more determined to become a nurse.</a:t>
            </a:r>
          </a:p>
          <a:p>
            <a:endParaRPr lang="en-US" sz="1100" dirty="0"/>
          </a:p>
          <a:p>
            <a:r>
              <a:rPr lang="en-US" sz="1100" dirty="0"/>
              <a:t>“The internet is not very good out here, and last year with online learning a lot of the times I couldn’t join our lessons at school,” says the 17-year-old student from Ahmedabad. “It showed me how important health is for everything else to work properly. I want to work in that sort of job where I have real impact on people’s lives.”</a:t>
            </a:r>
          </a:p>
          <a:p>
            <a:endParaRPr lang="en-US" sz="1100" dirty="0"/>
          </a:p>
          <a:p>
            <a:r>
              <a:rPr lang="en-US" sz="1100" dirty="0" err="1"/>
              <a:t>Tini</a:t>
            </a:r>
            <a:r>
              <a:rPr lang="en-US" sz="1100" dirty="0"/>
              <a:t> was one of the latest mentees in DHL’s </a:t>
            </a:r>
            <a:r>
              <a:rPr lang="en-US" sz="1100" dirty="0" err="1"/>
              <a:t>GoTeach</a:t>
            </a:r>
            <a:r>
              <a:rPr lang="en-US" sz="1100" dirty="0"/>
              <a:t> program, where our volunteers work with @</a:t>
            </a:r>
            <a:r>
              <a:rPr lang="en-US" sz="1100" dirty="0" err="1"/>
              <a:t>teachforindia</a:t>
            </a:r>
            <a:r>
              <a:rPr lang="en-US" sz="1100" dirty="0"/>
              <a:t> to equip young people from less-advantaged communities with the skills they need to enter the workforce. </a:t>
            </a:r>
          </a:p>
          <a:p>
            <a:endParaRPr lang="en-US" sz="1100" dirty="0"/>
          </a:p>
          <a:p>
            <a:r>
              <a:rPr lang="en-US" sz="1100" dirty="0"/>
              <a:t>“I found the tips on how to study better online and learn skills on our own really useful,” </a:t>
            </a:r>
            <a:r>
              <a:rPr lang="en-US" sz="1100" dirty="0" err="1"/>
              <a:t>Tini</a:t>
            </a:r>
            <a:r>
              <a:rPr lang="en-US" sz="1100" dirty="0"/>
              <a:t> says. “This will help me get the results I need despite not always being able to join class or study with everyone else.”</a:t>
            </a:r>
          </a:p>
          <a:p>
            <a:endParaRPr lang="en-US" sz="1100" dirty="0"/>
          </a:p>
          <a:p>
            <a:r>
              <a:rPr lang="en-US" sz="1100" dirty="0"/>
              <a:t>32% of young people across Asia are looking to enter the healthcare industry amidst increasing job insecurity. Find out more at </a:t>
            </a:r>
            <a:r>
              <a:rPr lang="en-US" sz="1100" dirty="0">
                <a:hlinkClick r:id="rId3"/>
              </a:rPr>
              <a:t>https://lot.dhl.com/the-resilience-of-job-hunting-youth-during-the-global-pandemic/</a:t>
            </a:r>
            <a:r>
              <a:rPr lang="en-US" sz="1100" dirty="0"/>
              <a:t>. </a:t>
            </a:r>
          </a:p>
        </p:txBody>
      </p:sp>
      <p:pic>
        <p:nvPicPr>
          <p:cNvPr id="5" name="Picture 4" descr="Text&#10;&#10;Description automatically generated with medium confidence">
            <a:extLst>
              <a:ext uri="{FF2B5EF4-FFF2-40B4-BE49-F238E27FC236}">
                <a16:creationId xmlns:a16="http://schemas.microsoft.com/office/drawing/2014/main" id="{A0D62471-CC03-4598-B12E-F27AEAC2C81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59393" y="989693"/>
            <a:ext cx="3354466" cy="3342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8330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TTING IT INTO AC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4329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bject 2"/>
          <p:cNvSpPr txBox="1">
            <a:spLocks/>
          </p:cNvSpPr>
          <p:nvPr/>
        </p:nvSpPr>
        <p:spPr>
          <a:xfrm>
            <a:off x="414000" y="190897"/>
            <a:ext cx="8316000" cy="615553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pPr marL="12700">
              <a:spcBef>
                <a:spcPct val="0"/>
              </a:spcBef>
              <a:spcAft>
                <a:spcPts val="600"/>
              </a:spcAft>
            </a:pPr>
            <a:r>
              <a:rPr lang="en-US" sz="1800" b="1">
                <a:solidFill>
                  <a:schemeClr val="accent4"/>
                </a:solidFill>
                <a:latin typeface="+mj-lt"/>
                <a:ea typeface="+mj-ea"/>
                <a:cs typeface="+mj-cs"/>
                <a:sym typeface="Delivery" panose="020F0503020204020204" pitchFamily="34" charset="0"/>
              </a:rPr>
              <a:t>STARTING THE STO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369013" y="4644000"/>
            <a:ext cx="364137" cy="153888"/>
          </a:xfrm>
        </p:spPr>
        <p:txBody>
          <a:bodyPr vert="horz" wrap="square" lIns="0" tIns="0" rIns="0" bIns="0" rtlCol="0" anchor="b" anchorCtr="0">
            <a:normAutofit/>
          </a:bodyPr>
          <a:lstStyle/>
          <a:p>
            <a:pPr>
              <a:spcAft>
                <a:spcPts val="600"/>
              </a:spcAft>
            </a:pPr>
            <a:fld id="{C2245BC1-4D7B-4ED3-8F01-840FA35126C6}" type="slidenum">
              <a:rPr lang="de-DE" smtClean="0"/>
              <a:pPr>
                <a:spcAft>
                  <a:spcPts val="600"/>
                </a:spcAft>
              </a:pPr>
              <a:t>7</a:t>
            </a:fld>
            <a:endParaRPr lang="de-DE"/>
          </a:p>
        </p:txBody>
      </p:sp>
      <p:sp>
        <p:nvSpPr>
          <p:cNvPr id="2" name="Rectangle 1"/>
          <p:cNvSpPr/>
          <p:nvPr/>
        </p:nvSpPr>
        <p:spPr>
          <a:xfrm>
            <a:off x="413999" y="928104"/>
            <a:ext cx="3403257" cy="3287291"/>
          </a:xfrm>
          <a:prstGeom prst="rect">
            <a:avLst/>
          </a:prstGeom>
        </p:spPr>
        <p:txBody>
          <a:bodyPr vert="horz" lIns="0" tIns="0" rIns="0" bIns="0" rtlCol="0">
            <a:normAutofit fontScale="92500"/>
          </a:bodyPr>
          <a:lstStyle/>
          <a:p>
            <a:pPr>
              <a:lnSpc>
                <a:spcPct val="110000"/>
              </a:lnSpc>
              <a:spcAft>
                <a:spcPts val="500"/>
              </a:spcAft>
              <a:defRPr/>
            </a:pPr>
            <a:r>
              <a:rPr lang="en-US" sz="1200" dirty="0">
                <a:sym typeface="Delivery" panose="020F0503020204020204" pitchFamily="34" charset="0"/>
              </a:rPr>
              <a:t>There are more </a:t>
            </a:r>
            <a:r>
              <a:rPr lang="en-US" sz="1200" dirty="0" err="1">
                <a:sym typeface="Delivery" panose="020F0503020204020204" pitchFamily="34" charset="0"/>
              </a:rPr>
              <a:t>GoTeach</a:t>
            </a:r>
            <a:r>
              <a:rPr lang="en-US" sz="1200" dirty="0">
                <a:sym typeface="Delivery" panose="020F0503020204020204" pitchFamily="34" charset="0"/>
              </a:rPr>
              <a:t> stories out there than you might initially think!</a:t>
            </a:r>
          </a:p>
          <a:p>
            <a:pPr>
              <a:lnSpc>
                <a:spcPct val="110000"/>
              </a:lnSpc>
              <a:spcAft>
                <a:spcPts val="500"/>
              </a:spcAft>
              <a:defRPr/>
            </a:pPr>
            <a:r>
              <a:rPr lang="en-US" sz="1200" dirty="0">
                <a:sym typeface="Delivery" panose="020F0503020204020204" pitchFamily="34" charset="0"/>
              </a:rPr>
              <a:t>Some great places to get story ideas from include: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ym typeface="Delivery" panose="020F0503020204020204" pitchFamily="34" charset="0"/>
              </a:rPr>
              <a:t>Recent press releases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i="1" dirty="0">
                <a:sym typeface="Delivery" panose="020F0503020204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ogistics of Things</a:t>
            </a:r>
            <a:endParaRPr lang="en-US" sz="1200" i="1" dirty="0">
              <a:sym typeface="Delivery" panose="020F0503020204020204" pitchFamily="34" charset="0"/>
            </a:endParaRP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i="1" dirty="0">
                <a:sym typeface="Delivery" panose="020F0503020204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iscover</a:t>
            </a:r>
            <a:r>
              <a:rPr lang="en-US" sz="1200" dirty="0">
                <a:sym typeface="Delivery" panose="020F0503020204020204" pitchFamily="34" charset="0"/>
              </a:rPr>
              <a:t> and local content hub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tabLst>
                <a:tab pos="1943100" algn="l"/>
              </a:tabLst>
              <a:defRPr/>
            </a:pPr>
            <a:r>
              <a:rPr lang="en-US" sz="1200" dirty="0">
                <a:sym typeface="Delivery" panose="020F0503020204020204" pitchFamily="34" charset="0"/>
              </a:rPr>
              <a:t>Talking to your local </a:t>
            </a:r>
            <a:r>
              <a:rPr lang="en-US" sz="1200" dirty="0" err="1">
                <a:sym typeface="Delivery" panose="020F0503020204020204" pitchFamily="34" charset="0"/>
              </a:rPr>
              <a:t>GoTeach</a:t>
            </a:r>
            <a:r>
              <a:rPr lang="en-US" sz="1200" dirty="0">
                <a:sym typeface="Delivery" panose="020F0503020204020204" pitchFamily="34" charset="0"/>
              </a:rPr>
              <a:t> champions or volunteers</a:t>
            </a:r>
          </a:p>
          <a:p>
            <a:pPr>
              <a:lnSpc>
                <a:spcPct val="110000"/>
              </a:lnSpc>
              <a:spcAft>
                <a:spcPts val="500"/>
              </a:spcAft>
              <a:defRPr/>
            </a:pPr>
            <a:r>
              <a:rPr lang="en-US" sz="1200" dirty="0">
                <a:sym typeface="Delivery" panose="020F0503020204020204" pitchFamily="34" charset="0"/>
              </a:rPr>
              <a:t>Always look for a local angle that you can use, and try to answer the following questions: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ym typeface="Delivery" panose="020F0503020204020204" pitchFamily="34" charset="0"/>
              </a:rPr>
              <a:t>What’s the key message or story I’m trying to share?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ym typeface="Delivery" panose="020F0503020204020204" pitchFamily="34" charset="0"/>
              </a:rPr>
              <a:t>How does this story build on our local stories so far (if any) and the Group’s broader ESG narrative?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ym typeface="Delivery" panose="020F0503020204020204" pitchFamily="34" charset="0"/>
              </a:rPr>
              <a:t>Why would my local audiences care about this?</a:t>
            </a:r>
          </a:p>
        </p:txBody>
      </p:sp>
      <p:sp>
        <p:nvSpPr>
          <p:cNvPr id="71" name="Text Placeholder 5">
            <a:extLst>
              <a:ext uri="{FF2B5EF4-FFF2-40B4-BE49-F238E27FC236}">
                <a16:creationId xmlns:a16="http://schemas.microsoft.com/office/drawing/2014/main" id="{8714F541-0377-4237-A38C-20EE4581FA99}"/>
              </a:ext>
            </a:extLst>
          </p:cNvPr>
          <p:cNvSpPr>
            <a:spLocks noGrp="1"/>
          </p:cNvSpPr>
          <p:nvPr>
            <p:ph type="body" sz="quarter" idx="2"/>
          </p:nvPr>
        </p:nvSpPr>
        <p:spPr>
          <a:xfrm>
            <a:off x="414000" y="0"/>
            <a:ext cx="977832" cy="206719"/>
          </a:xfrm>
        </p:spPr>
        <p:txBody>
          <a:bodyPr/>
          <a:lstStyle/>
          <a:p>
            <a:r>
              <a:rPr lang="en-US" dirty="0"/>
              <a:t>Internal use only</a:t>
            </a:r>
          </a:p>
        </p:txBody>
      </p:sp>
      <p:pic>
        <p:nvPicPr>
          <p:cNvPr id="12290" name="Picture 2" descr="The Art of Storytelling in Analytics and Data Science | Create Data Stories">
            <a:extLst>
              <a:ext uri="{FF2B5EF4-FFF2-40B4-BE49-F238E27FC236}">
                <a16:creationId xmlns:a16="http://schemas.microsoft.com/office/drawing/2014/main" id="{954AC7AC-497F-4EC0-BC5C-A291448C09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982" y="1036864"/>
            <a:ext cx="5270018" cy="2968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72830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bject 2"/>
          <p:cNvSpPr txBox="1">
            <a:spLocks/>
          </p:cNvSpPr>
          <p:nvPr/>
        </p:nvSpPr>
        <p:spPr>
          <a:xfrm>
            <a:off x="414000" y="190897"/>
            <a:ext cx="8316000" cy="615553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pPr marL="12700">
              <a:spcBef>
                <a:spcPct val="0"/>
              </a:spcBef>
              <a:spcAft>
                <a:spcPts val="600"/>
              </a:spcAft>
            </a:pPr>
            <a:r>
              <a:rPr lang="en-GB" sz="1800" b="1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Delivery" panose="020F0503020204020204" pitchFamily="34" charset="0"/>
              </a:rPr>
              <a:t>SOME GENERAL BEST-PRACTI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80463" y="4643438"/>
            <a:ext cx="363537" cy="153987"/>
          </a:xfrm>
        </p:spPr>
        <p:txBody>
          <a:bodyPr vert="horz" wrap="square" lIns="0" tIns="0" rIns="0" bIns="0" rtlCol="0" anchor="b" anchorCtr="0">
            <a:normAutofit/>
          </a:bodyPr>
          <a:lstStyle/>
          <a:p>
            <a:pPr>
              <a:spcAft>
                <a:spcPts val="600"/>
              </a:spcAft>
            </a:pPr>
            <a:fld id="{C2245BC1-4D7B-4ED3-8F01-840FA35126C6}" type="slidenum">
              <a:rPr lang="de-DE" smtClean="0"/>
              <a:pPr>
                <a:spcAft>
                  <a:spcPts val="600"/>
                </a:spcAft>
              </a:pPr>
              <a:t>8</a:t>
            </a:fld>
            <a:endParaRPr lang="de-DE"/>
          </a:p>
        </p:txBody>
      </p:sp>
      <p:sp>
        <p:nvSpPr>
          <p:cNvPr id="2" name="Rectangle 1"/>
          <p:cNvSpPr/>
          <p:nvPr/>
        </p:nvSpPr>
        <p:spPr>
          <a:xfrm>
            <a:off x="414337" y="920852"/>
            <a:ext cx="5148903" cy="41121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  <a:defRPr/>
            </a:pPr>
            <a:r>
              <a:rPr lang="en-US" sz="1100" b="1" dirty="0">
                <a:sym typeface="Delivery" panose="020F0503020204020204" pitchFamily="34" charset="0"/>
              </a:rPr>
              <a:t>Tone and voice</a:t>
            </a:r>
            <a:endParaRPr lang="en-US" sz="1100" dirty="0">
              <a:sym typeface="Delivery" panose="020F0503020204020204" pitchFamily="34" charset="0"/>
            </a:endParaRP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ym typeface="Delivery" panose="020F0503020204020204" pitchFamily="34" charset="0"/>
              </a:rPr>
              <a:t>Use simple sentences and language, avoiding jargon.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ym typeface="Delivery" panose="020F0503020204020204" pitchFamily="34" charset="0"/>
              </a:rPr>
              <a:t>Maintain a conversational tone that’s optimistic but not overexcited.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ym typeface="Delivery" panose="020F0503020204020204" pitchFamily="34" charset="0"/>
              </a:rPr>
              <a:t>Don’t oversell or hype up DHL’s achievements and actions, but rather emphasize the need for ongoing change and progress. 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ym typeface="Delivery" panose="020F0503020204020204" pitchFamily="34" charset="0"/>
              </a:rPr>
              <a:t>Keep your language inclusive and respectful. Be careful not to portray beneficiaries as helpless, incapable, or otherwise in need of “saving”.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endParaRPr lang="en-US" sz="1100" dirty="0">
              <a:sym typeface="Delivery" panose="020F0503020204020204" pitchFamily="34" charset="0"/>
            </a:endParaRPr>
          </a:p>
          <a:p>
            <a:pPr>
              <a:lnSpc>
                <a:spcPct val="110000"/>
              </a:lnSpc>
              <a:spcAft>
                <a:spcPts val="500"/>
              </a:spcAft>
              <a:defRPr/>
            </a:pPr>
            <a:r>
              <a:rPr lang="en-US" sz="1100" b="1" dirty="0">
                <a:sym typeface="Delivery" panose="020F0503020204020204" pitchFamily="34" charset="0"/>
              </a:rPr>
              <a:t>Content</a:t>
            </a:r>
            <a:endParaRPr lang="en-US" sz="1100" dirty="0">
              <a:sym typeface="Delivery" panose="020F0503020204020204" pitchFamily="34" charset="0"/>
            </a:endParaRP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TW" sz="1100" dirty="0">
                <a:sym typeface="Delivery" panose="020F0503020204020204" pitchFamily="34" charset="0"/>
              </a:rPr>
              <a:t>Make sure the information you are using is accurate and </a:t>
            </a:r>
            <a:r>
              <a:rPr lang="en-US" altLang="zh-TW" sz="1100" b="1" u="sng" dirty="0">
                <a:sym typeface="Delivery" panose="020F0503020204020204" pitchFamily="34" charset="0"/>
              </a:rPr>
              <a:t>approved for external use</a:t>
            </a:r>
            <a:r>
              <a:rPr lang="en-US" altLang="zh-TW" sz="1100" dirty="0">
                <a:sym typeface="Delivery" panose="020F0503020204020204" pitchFamily="34" charset="0"/>
              </a:rPr>
              <a:t>.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b="1" dirty="0">
                <a:sym typeface="Delivery" panose="020F0503020204020204" pitchFamily="34" charset="0"/>
              </a:rPr>
              <a:t>High-res, original photographs are always best. </a:t>
            </a:r>
            <a:r>
              <a:rPr lang="en-US" sz="1100" dirty="0">
                <a:sym typeface="Delivery" panose="020F0503020204020204" pitchFamily="34" charset="0"/>
              </a:rPr>
              <a:t>If using stock imagery, make sure it’s clearly relevant to the subject matter.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ym typeface="Delivery" panose="020F0503020204020204" pitchFamily="34" charset="0"/>
              </a:rPr>
              <a:t>If using photos of beneficiaries, make sure there are no sensitivities in doing so. For example: children and refugees may face risks if their faces are shown.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ym typeface="Delivery" panose="020F0503020204020204" pitchFamily="34" charset="0"/>
              </a:rPr>
              <a:t>Make sure to highlight your key message (and any main facts or points) in your post’s first sentence or on your image.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ym typeface="Delivery" panose="020F0503020204020204" pitchFamily="34" charset="0"/>
              </a:rPr>
              <a:t>If altering our content templates, make sure to follow DHL’s brand guidelines - check with </a:t>
            </a:r>
            <a:r>
              <a:rPr lang="en-US" sz="1100" dirty="0">
                <a:sym typeface="Delivery" panose="020F0503020204020204" pitchFamily="34" charset="0"/>
                <a:hlinkClick r:id="rId2"/>
              </a:rPr>
              <a:t>DPDHL Global Brand Services </a:t>
            </a:r>
            <a:r>
              <a:rPr lang="en-US" sz="1100" dirty="0">
                <a:sym typeface="Delivery" panose="020F0503020204020204" pitchFamily="34" charset="0"/>
              </a:rPr>
              <a:t>if you’re in doubt. 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endParaRPr lang="en-US" sz="1100" dirty="0">
              <a:sym typeface="Delivery" panose="020F0503020204020204" pitchFamily="34" charset="0"/>
            </a:endParaRP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endParaRPr lang="en-US" sz="1100" dirty="0">
              <a:sym typeface="Delivery" panose="020F0503020204020204" pitchFamily="34" charset="0"/>
            </a:endParaRPr>
          </a:p>
        </p:txBody>
      </p:sp>
      <p:pic>
        <p:nvPicPr>
          <p:cNvPr id="49154" name="Picture 2" descr="Close-up Photography of Woman Sitting Beside Table While Using Macbook">
            <a:extLst>
              <a:ext uri="{FF2B5EF4-FFF2-40B4-BE49-F238E27FC236}">
                <a16:creationId xmlns:a16="http://schemas.microsoft.com/office/drawing/2014/main" id="{30BEC441-7D6C-1F48-A205-D508AC3B0C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15000" y="0"/>
            <a:ext cx="3429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80666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bject 2"/>
          <p:cNvSpPr txBox="1">
            <a:spLocks/>
          </p:cNvSpPr>
          <p:nvPr/>
        </p:nvSpPr>
        <p:spPr>
          <a:xfrm>
            <a:off x="414000" y="190897"/>
            <a:ext cx="8316000" cy="615553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pPr marL="12700">
              <a:spcBef>
                <a:spcPct val="0"/>
              </a:spcBef>
              <a:spcAft>
                <a:spcPts val="600"/>
              </a:spcAft>
            </a:pPr>
            <a:r>
              <a:rPr lang="en-GB" sz="1800" b="1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Delivery" panose="020F0503020204020204" pitchFamily="34" charset="0"/>
              </a:rPr>
              <a:t>SOME GENERAL BEST-PRACTI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80463" y="4643438"/>
            <a:ext cx="363537" cy="153987"/>
          </a:xfrm>
        </p:spPr>
        <p:txBody>
          <a:bodyPr vert="horz" wrap="square" lIns="0" tIns="0" rIns="0" bIns="0" rtlCol="0" anchor="b" anchorCtr="0">
            <a:normAutofit/>
          </a:bodyPr>
          <a:lstStyle/>
          <a:p>
            <a:pPr>
              <a:spcAft>
                <a:spcPts val="600"/>
              </a:spcAft>
            </a:pPr>
            <a:fld id="{C2245BC1-4D7B-4ED3-8F01-840FA35126C6}" type="slidenum">
              <a:rPr lang="de-DE" smtClean="0"/>
              <a:pPr>
                <a:spcAft>
                  <a:spcPts val="600"/>
                </a:spcAft>
              </a:pPr>
              <a:t>9</a:t>
            </a:fld>
            <a:endParaRPr lang="de-DE"/>
          </a:p>
        </p:txBody>
      </p:sp>
      <p:sp>
        <p:nvSpPr>
          <p:cNvPr id="2" name="Rectangle 1"/>
          <p:cNvSpPr/>
          <p:nvPr/>
        </p:nvSpPr>
        <p:spPr>
          <a:xfrm>
            <a:off x="414337" y="990009"/>
            <a:ext cx="4657125" cy="38078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  <a:defRPr/>
            </a:pPr>
            <a:r>
              <a:rPr lang="en-US" sz="1100" b="1" dirty="0">
                <a:sym typeface="Delivery" panose="020F0503020204020204" pitchFamily="34" charset="0"/>
              </a:rPr>
              <a:t>Tagging your posts</a:t>
            </a:r>
            <a:endParaRPr lang="en-US" sz="1100" dirty="0">
              <a:sym typeface="Delivery" panose="020F0503020204020204" pitchFamily="34" charset="0"/>
            </a:endParaRP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ym typeface="Delivery" panose="020F0503020204020204" pitchFamily="34" charset="0"/>
              </a:rPr>
              <a:t>Use the hashtags #goteach, #employability and #internationaldayofeducation to track your posts over time.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ym typeface="Delivery" panose="020F0503020204020204" pitchFamily="34" charset="0"/>
              </a:rPr>
              <a:t>Don’t use more than 3-4 hashtags per post.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ym typeface="Delivery" panose="020F0503020204020204" pitchFamily="34" charset="0"/>
              </a:rPr>
              <a:t>Make sure to @-mention your </a:t>
            </a:r>
            <a:r>
              <a:rPr lang="en-US" sz="1100" dirty="0" err="1">
                <a:sym typeface="Delivery" panose="020F0503020204020204" pitchFamily="34" charset="0"/>
              </a:rPr>
              <a:t>GoTeach</a:t>
            </a:r>
            <a:r>
              <a:rPr lang="en-US" sz="1100" dirty="0">
                <a:sym typeface="Delivery" panose="020F0503020204020204" pitchFamily="34" charset="0"/>
              </a:rPr>
              <a:t> partner (e.g. Teach for All, SOS Children’s Villages) in your post.</a:t>
            </a:r>
          </a:p>
          <a:p>
            <a:pPr>
              <a:lnSpc>
                <a:spcPct val="110000"/>
              </a:lnSpc>
              <a:spcAft>
                <a:spcPts val="500"/>
              </a:spcAft>
              <a:defRPr/>
            </a:pPr>
            <a:endParaRPr lang="en-US" sz="1100" dirty="0">
              <a:sym typeface="Delivery" panose="020F0503020204020204" pitchFamily="34" charset="0"/>
            </a:endParaRPr>
          </a:p>
          <a:p>
            <a:pPr>
              <a:lnSpc>
                <a:spcPct val="110000"/>
              </a:lnSpc>
              <a:spcAft>
                <a:spcPts val="500"/>
              </a:spcAft>
              <a:defRPr/>
            </a:pPr>
            <a:r>
              <a:rPr lang="en-US" sz="1100" b="1" dirty="0">
                <a:sym typeface="Delivery" panose="020F0503020204020204" pitchFamily="34" charset="0"/>
              </a:rPr>
              <a:t>Useful phrases and vocabulary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ym typeface="Delivery" panose="020F0503020204020204" pitchFamily="34" charset="0"/>
              </a:rPr>
              <a:t>“We’re working with…to…” (emphasize collaboration)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ym typeface="Delivery" panose="020F0503020204020204" pitchFamily="34" charset="0"/>
              </a:rPr>
              <a:t>Equipping, empowering, assisting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ym typeface="Delivery" panose="020F0503020204020204" pitchFamily="34" charset="0"/>
              </a:rPr>
              <a:t>Beneficiaries, volunteers</a:t>
            </a:r>
          </a:p>
          <a:p>
            <a:pPr marL="171450" indent="-1714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ym typeface="Delivery" panose="020F0503020204020204" pitchFamily="34" charset="0"/>
              </a:rPr>
              <a:t>“This move is part of…” (linking to broader ESG narrative and goals)</a:t>
            </a:r>
          </a:p>
        </p:txBody>
      </p:sp>
      <p:pic>
        <p:nvPicPr>
          <p:cNvPr id="51202" name="Picture 2" descr="ampersand illustration">
            <a:extLst>
              <a:ext uri="{FF2B5EF4-FFF2-40B4-BE49-F238E27FC236}">
                <a16:creationId xmlns:a16="http://schemas.microsoft.com/office/drawing/2014/main" id="{ADFC64AA-CF2F-924B-A0D2-82DCD49534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15000" y="0"/>
            <a:ext cx="3429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22453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9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_Ax5L5XZpjbEjC_mSb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zDDC09a53Ko53PO9EPR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MJDqdvQFCMalH0cU8v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LqbiR8cJA35bQcc4ku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zDDC09a53Ko53PO9EPRg"/>
</p:tagLst>
</file>

<file path=ppt/theme/theme1.xml><?xml version="1.0" encoding="utf-8"?>
<a:theme xmlns:a="http://schemas.openxmlformats.org/drawingml/2006/main" name="DHL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36000" rIns="72000" bIns="36000" rtlCol="0" anchor="t">
        <a:spAutoFit/>
      </a:bodyPr>
      <a:lstStyle>
        <a:defPPr algn="l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2020 DeCS BRM" id="{FF043D01-0F2D-4F31-96E5-6867A00C03FD}" vid="{C942DF2F-E18A-4AFD-9968-59EDE980A667}"/>
    </a:ext>
  </a:extLst>
</a:theme>
</file>

<file path=ppt/theme/theme2.xml><?xml version="1.0" encoding="utf-8"?>
<a:theme xmlns:a="http://schemas.openxmlformats.org/drawingml/2006/main" name="Theme1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36000" rIns="72000" bIns="36000" rtlCol="0" anchor="t">
        <a:spAutoFit/>
      </a:bodyPr>
      <a:lstStyle>
        <a:defPPr algn="l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Theme1" id="{812AD3B0-78A1-5A41-ABD8-08F3C5E8B774}" vid="{999B21F4-4BF0-654C-8DE9-64E858D06D13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9</TotalTime>
  <Words>1241</Words>
  <Application>Microsoft Office PowerPoint</Application>
  <PresentationFormat>On-screen Show (16:9)</PresentationFormat>
  <Paragraphs>87</Paragraphs>
  <Slides>1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21" baseType="lpstr">
      <vt:lpstr>Arial</vt:lpstr>
      <vt:lpstr>Calibri</vt:lpstr>
      <vt:lpstr>Delivery</vt:lpstr>
      <vt:lpstr>Delivery Cd Black</vt:lpstr>
      <vt:lpstr>Delivery Cd Light</vt:lpstr>
      <vt:lpstr>Symbol</vt:lpstr>
      <vt:lpstr>Wingdings</vt:lpstr>
      <vt:lpstr>DHL</vt:lpstr>
      <vt:lpstr>Theme1</vt:lpstr>
      <vt:lpstr>think-cell Folie</vt:lpstr>
      <vt:lpstr>think-cell Slide</vt:lpstr>
      <vt:lpstr>Goteach social media toolkit: international day of education</vt:lpstr>
      <vt:lpstr>PowerPoint Presentation</vt:lpstr>
      <vt:lpstr>PowerPoint Presentation</vt:lpstr>
      <vt:lpstr>PowerPoint Presentation</vt:lpstr>
      <vt:lpstr>PowerPoint Presentation</vt:lpstr>
      <vt:lpstr>PUTTING IT INTO ACTION</vt:lpstr>
      <vt:lpstr>PowerPoint Presentation</vt:lpstr>
      <vt:lpstr>PowerPoint Presentation</vt:lpstr>
      <vt:lpstr>PowerPoint Presentation</vt:lpstr>
      <vt:lpstr>Thank you</vt:lpstr>
    </vt:vector>
  </TitlesOfParts>
  <Company>DH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/</dc:title>
  <dc:creator>/</dc:creator>
  <cp:lastModifiedBy>Thomas Ng (DPDHL SG)</cp:lastModifiedBy>
  <cp:revision>1449</cp:revision>
  <cp:lastPrinted>2020-10-29T15:49:14Z</cp:lastPrinted>
  <dcterms:created xsi:type="dcterms:W3CDTF">2020-05-27T07:56:47Z</dcterms:created>
  <dcterms:modified xsi:type="dcterms:W3CDTF">2022-01-11T10:18:07Z</dcterms:modified>
</cp:coreProperties>
</file>